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6" r:id="rId4"/>
    <p:sldMasterId id="2147483810" r:id="rId5"/>
    <p:sldMasterId id="2147483991" r:id="rId6"/>
    <p:sldMasterId id="2147484143" r:id="rId7"/>
    <p:sldMasterId id="2147483685" r:id="rId8"/>
    <p:sldMasterId id="2147484050" r:id="rId9"/>
  </p:sldMasterIdLst>
  <p:notesMasterIdLst>
    <p:notesMasterId r:id="rId18"/>
  </p:notesMasterIdLst>
  <p:handoutMasterIdLst>
    <p:handoutMasterId r:id="rId19"/>
  </p:handoutMasterIdLst>
  <p:sldIdLst>
    <p:sldId id="2147471678" r:id="rId10"/>
    <p:sldId id="2147471667" r:id="rId11"/>
    <p:sldId id="2147471668" r:id="rId12"/>
    <p:sldId id="2147471694" r:id="rId13"/>
    <p:sldId id="2147471695" r:id="rId14"/>
    <p:sldId id="2147471696" r:id="rId15"/>
    <p:sldId id="952" r:id="rId16"/>
    <p:sldId id="3597" r:id="rId17"/>
  </p:sldIdLst>
  <p:sldSz cx="12192000" cy="6858000"/>
  <p:notesSz cx="6797675" cy="9926638"/>
  <p:custDataLst>
    <p:tags r:id="rId2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F56B201-F0D3-FA43-34F6-4BCEFC6944AD}" name="Malcolmson Ian" initials="MI" userId="S::iama@odfjelldrilling.com::b572fe3c-66b8-405c-b86c-6b4507379178" providerId="AD"/>
  <p188:author id="{1CF1A6C9-C624-2E8F-8F9F-9977551AEFD6}" name="Flesland Synnøve" initials="FS" userId="S::syfl@odfjelldrilling.com::d757f729-4085-4965-8c64-c1891892af57" providerId="AD"/>
  <p188:author id="{5C25EDD9-73EF-516F-86AC-591E5E4E28AA}" name="Marthe Meland" initials="MM" userId="S::marthe.meland_sourcegalileo.com#ext#@odbergen.onmicrosoft.com::b38f4f8e-e294-456e-9a6f-49f4155b192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" lastIdx="0" clrIdx="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C2CE"/>
    <a:srgbClr val="E0F9E9"/>
    <a:srgbClr val="E6E6E6"/>
    <a:srgbClr val="1D3566"/>
    <a:srgbClr val="F8F8F8"/>
    <a:srgbClr val="EBFAF1"/>
    <a:srgbClr val="65747D"/>
    <a:srgbClr val="809A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C80AAB-9102-4831-B054-A47F152390DF}" v="32" dt="2023-11-22T15:45:23.354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ddels stil 2 - aks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ddels sti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296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nnar Birkeland" userId="47777577-119e-429a-b00d-fb3d66c83487" providerId="ADAL" clId="{35C80AAB-9102-4831-B054-A47F152390DF}"/>
    <pc:docChg chg="undo custSel addSld delSld modSld sldOrd addMainMaster delMainMaster modMainMaster">
      <pc:chgData name="Gunnar Birkeland" userId="47777577-119e-429a-b00d-fb3d66c83487" providerId="ADAL" clId="{35C80AAB-9102-4831-B054-A47F152390DF}" dt="2023-11-22T15:48:32.998" v="1450" actId="20577"/>
      <pc:docMkLst>
        <pc:docMk/>
      </pc:docMkLst>
      <pc:sldChg chg="del">
        <pc:chgData name="Gunnar Birkeland" userId="47777577-119e-429a-b00d-fb3d66c83487" providerId="ADAL" clId="{35C80AAB-9102-4831-B054-A47F152390DF}" dt="2023-11-22T14:45:54.141" v="188" actId="47"/>
        <pc:sldMkLst>
          <pc:docMk/>
          <pc:sldMk cId="1686023775" sldId="275"/>
        </pc:sldMkLst>
      </pc:sldChg>
      <pc:sldChg chg="del">
        <pc:chgData name="Gunnar Birkeland" userId="47777577-119e-429a-b00d-fb3d66c83487" providerId="ADAL" clId="{35C80AAB-9102-4831-B054-A47F152390DF}" dt="2023-11-22T14:47:49.651" v="225" actId="47"/>
        <pc:sldMkLst>
          <pc:docMk/>
          <pc:sldMk cId="0" sldId="3637"/>
        </pc:sldMkLst>
      </pc:sldChg>
      <pc:sldChg chg="del">
        <pc:chgData name="Gunnar Birkeland" userId="47777577-119e-429a-b00d-fb3d66c83487" providerId="ADAL" clId="{35C80AAB-9102-4831-B054-A47F152390DF}" dt="2023-11-22T14:45:02.787" v="171" actId="47"/>
        <pc:sldMkLst>
          <pc:docMk/>
          <pc:sldMk cId="0" sldId="3641"/>
        </pc:sldMkLst>
      </pc:sldChg>
      <pc:sldChg chg="del">
        <pc:chgData name="Gunnar Birkeland" userId="47777577-119e-429a-b00d-fb3d66c83487" providerId="ADAL" clId="{35C80AAB-9102-4831-B054-A47F152390DF}" dt="2023-11-22T14:45:40.700" v="177" actId="47"/>
        <pc:sldMkLst>
          <pc:docMk/>
          <pc:sldMk cId="2151147119" sldId="3643"/>
        </pc:sldMkLst>
      </pc:sldChg>
      <pc:sldChg chg="del">
        <pc:chgData name="Gunnar Birkeland" userId="47777577-119e-429a-b00d-fb3d66c83487" providerId="ADAL" clId="{35C80AAB-9102-4831-B054-A47F152390DF}" dt="2023-11-22T14:46:47.164" v="201" actId="47"/>
        <pc:sldMkLst>
          <pc:docMk/>
          <pc:sldMk cId="3351543161" sldId="3648"/>
        </pc:sldMkLst>
      </pc:sldChg>
      <pc:sldChg chg="del">
        <pc:chgData name="Gunnar Birkeland" userId="47777577-119e-429a-b00d-fb3d66c83487" providerId="ADAL" clId="{35C80AAB-9102-4831-B054-A47F152390DF}" dt="2023-11-22T14:46:49.402" v="204" actId="47"/>
        <pc:sldMkLst>
          <pc:docMk/>
          <pc:sldMk cId="3083205435" sldId="3649"/>
        </pc:sldMkLst>
      </pc:sldChg>
      <pc:sldChg chg="del">
        <pc:chgData name="Gunnar Birkeland" userId="47777577-119e-429a-b00d-fb3d66c83487" providerId="ADAL" clId="{35C80AAB-9102-4831-B054-A47F152390DF}" dt="2023-11-22T14:46:51.506" v="207" actId="47"/>
        <pc:sldMkLst>
          <pc:docMk/>
          <pc:sldMk cId="1570295755" sldId="3650"/>
        </pc:sldMkLst>
      </pc:sldChg>
      <pc:sldChg chg="del">
        <pc:chgData name="Gunnar Birkeland" userId="47777577-119e-429a-b00d-fb3d66c83487" providerId="ADAL" clId="{35C80AAB-9102-4831-B054-A47F152390DF}" dt="2023-11-22T14:47:03.132" v="213" actId="47"/>
        <pc:sldMkLst>
          <pc:docMk/>
          <pc:sldMk cId="1724998481" sldId="3652"/>
        </pc:sldMkLst>
      </pc:sldChg>
      <pc:sldChg chg="del">
        <pc:chgData name="Gunnar Birkeland" userId="47777577-119e-429a-b00d-fb3d66c83487" providerId="ADAL" clId="{35C80AAB-9102-4831-B054-A47F152390DF}" dt="2023-11-22T14:47:42.810" v="221" actId="47"/>
        <pc:sldMkLst>
          <pc:docMk/>
          <pc:sldMk cId="1705346920" sldId="3653"/>
        </pc:sldMkLst>
      </pc:sldChg>
      <pc:sldChg chg="del">
        <pc:chgData name="Gunnar Birkeland" userId="47777577-119e-429a-b00d-fb3d66c83487" providerId="ADAL" clId="{35C80AAB-9102-4831-B054-A47F152390DF}" dt="2023-11-22T14:45:38.750" v="175" actId="47"/>
        <pc:sldMkLst>
          <pc:docMk/>
          <pc:sldMk cId="1617042277" sldId="3655"/>
        </pc:sldMkLst>
      </pc:sldChg>
      <pc:sldChg chg="del">
        <pc:chgData name="Gunnar Birkeland" userId="47777577-119e-429a-b00d-fb3d66c83487" providerId="ADAL" clId="{35C80AAB-9102-4831-B054-A47F152390DF}" dt="2023-11-22T14:46:50.338" v="205" actId="47"/>
        <pc:sldMkLst>
          <pc:docMk/>
          <pc:sldMk cId="3594477325" sldId="3656"/>
        </pc:sldMkLst>
      </pc:sldChg>
      <pc:sldChg chg="delSp modSp add del mod">
        <pc:chgData name="Gunnar Birkeland" userId="47777577-119e-429a-b00d-fb3d66c83487" providerId="ADAL" clId="{35C80AAB-9102-4831-B054-A47F152390DF}" dt="2023-11-22T15:48:32.998" v="1450" actId="20577"/>
        <pc:sldMkLst>
          <pc:docMk/>
          <pc:sldMk cId="1503540174" sldId="3659"/>
        </pc:sldMkLst>
        <pc:spChg chg="mod">
          <ac:chgData name="Gunnar Birkeland" userId="47777577-119e-429a-b00d-fb3d66c83487" providerId="ADAL" clId="{35C80AAB-9102-4831-B054-A47F152390DF}" dt="2023-11-22T15:47:19.844" v="1322" actId="20577"/>
          <ac:spMkLst>
            <pc:docMk/>
            <pc:sldMk cId="1503540174" sldId="3659"/>
            <ac:spMk id="6" creationId="{25D18766-137F-FD4D-C902-040889AC3BDC}"/>
          </ac:spMkLst>
        </pc:spChg>
        <pc:spChg chg="mod">
          <ac:chgData name="Gunnar Birkeland" userId="47777577-119e-429a-b00d-fb3d66c83487" providerId="ADAL" clId="{35C80AAB-9102-4831-B054-A47F152390DF}" dt="2023-11-22T15:46:43.287" v="1278" actId="20577"/>
          <ac:spMkLst>
            <pc:docMk/>
            <pc:sldMk cId="1503540174" sldId="3659"/>
            <ac:spMk id="10" creationId="{9A38D169-FA0D-9137-2C5F-FB8377BF6BAB}"/>
          </ac:spMkLst>
        </pc:spChg>
        <pc:spChg chg="mod">
          <ac:chgData name="Gunnar Birkeland" userId="47777577-119e-429a-b00d-fb3d66c83487" providerId="ADAL" clId="{35C80AAB-9102-4831-B054-A47F152390DF}" dt="2023-11-22T15:47:48.694" v="1362" actId="20577"/>
          <ac:spMkLst>
            <pc:docMk/>
            <pc:sldMk cId="1503540174" sldId="3659"/>
            <ac:spMk id="11" creationId="{2D82476D-81ED-8BC9-22F4-EB739951C608}"/>
          </ac:spMkLst>
        </pc:spChg>
        <pc:spChg chg="del">
          <ac:chgData name="Gunnar Birkeland" userId="47777577-119e-429a-b00d-fb3d66c83487" providerId="ADAL" clId="{35C80AAB-9102-4831-B054-A47F152390DF}" dt="2023-11-22T15:47:25.866" v="1323" actId="478"/>
          <ac:spMkLst>
            <pc:docMk/>
            <pc:sldMk cId="1503540174" sldId="3659"/>
            <ac:spMk id="12" creationId="{49605F9E-13C2-B4B8-8AD8-B66C03ED014A}"/>
          </ac:spMkLst>
        </pc:spChg>
        <pc:spChg chg="mod">
          <ac:chgData name="Gunnar Birkeland" userId="47777577-119e-429a-b00d-fb3d66c83487" providerId="ADAL" clId="{35C80AAB-9102-4831-B054-A47F152390DF}" dt="2023-11-22T15:48:32.998" v="1450" actId="20577"/>
          <ac:spMkLst>
            <pc:docMk/>
            <pc:sldMk cId="1503540174" sldId="3659"/>
            <ac:spMk id="23559" creationId="{71F32CBD-25C5-47B1-D09D-E53F7EE01AA6}"/>
          </ac:spMkLst>
        </pc:spChg>
      </pc:sldChg>
      <pc:sldChg chg="del">
        <pc:chgData name="Gunnar Birkeland" userId="47777577-119e-429a-b00d-fb3d66c83487" providerId="ADAL" clId="{35C80AAB-9102-4831-B054-A47F152390DF}" dt="2023-11-22T14:46:44.468" v="200" actId="47"/>
        <pc:sldMkLst>
          <pc:docMk/>
          <pc:sldMk cId="2189833265" sldId="4288"/>
        </pc:sldMkLst>
      </pc:sldChg>
      <pc:sldChg chg="del">
        <pc:chgData name="Gunnar Birkeland" userId="47777577-119e-429a-b00d-fb3d66c83487" providerId="ADAL" clId="{35C80AAB-9102-4831-B054-A47F152390DF}" dt="2023-11-22T14:47:37.760" v="218" actId="47"/>
        <pc:sldMkLst>
          <pc:docMk/>
          <pc:sldMk cId="3450660533" sldId="4346"/>
        </pc:sldMkLst>
      </pc:sldChg>
      <pc:sldChg chg="del">
        <pc:chgData name="Gunnar Birkeland" userId="47777577-119e-429a-b00d-fb3d66c83487" providerId="ADAL" clId="{35C80AAB-9102-4831-B054-A47F152390DF}" dt="2023-11-22T14:46:25.435" v="196" actId="47"/>
        <pc:sldMkLst>
          <pc:docMk/>
          <pc:sldMk cId="3942778380" sldId="4410"/>
        </pc:sldMkLst>
      </pc:sldChg>
      <pc:sldChg chg="del">
        <pc:chgData name="Gunnar Birkeland" userId="47777577-119e-429a-b00d-fb3d66c83487" providerId="ADAL" clId="{35C80AAB-9102-4831-B054-A47F152390DF}" dt="2023-11-22T14:46:28.638" v="197" actId="47"/>
        <pc:sldMkLst>
          <pc:docMk/>
          <pc:sldMk cId="3557407895" sldId="2147374689"/>
        </pc:sldMkLst>
      </pc:sldChg>
      <pc:sldChg chg="del">
        <pc:chgData name="Gunnar Birkeland" userId="47777577-119e-429a-b00d-fb3d66c83487" providerId="ADAL" clId="{35C80AAB-9102-4831-B054-A47F152390DF}" dt="2023-11-22T14:47:39.035" v="220" actId="47"/>
        <pc:sldMkLst>
          <pc:docMk/>
          <pc:sldMk cId="3581674713" sldId="2147471529"/>
        </pc:sldMkLst>
      </pc:sldChg>
      <pc:sldChg chg="del">
        <pc:chgData name="Gunnar Birkeland" userId="47777577-119e-429a-b00d-fb3d66c83487" providerId="ADAL" clId="{35C80AAB-9102-4831-B054-A47F152390DF}" dt="2023-11-22T14:47:38.389" v="219" actId="47"/>
        <pc:sldMkLst>
          <pc:docMk/>
          <pc:sldMk cId="1409018230" sldId="2147471530"/>
        </pc:sldMkLst>
      </pc:sldChg>
      <pc:sldChg chg="del">
        <pc:chgData name="Gunnar Birkeland" userId="47777577-119e-429a-b00d-fb3d66c83487" providerId="ADAL" clId="{35C80AAB-9102-4831-B054-A47F152390DF}" dt="2023-11-22T14:46:41.986" v="198" actId="47"/>
        <pc:sldMkLst>
          <pc:docMk/>
          <pc:sldMk cId="763134209" sldId="2147471588"/>
        </pc:sldMkLst>
      </pc:sldChg>
      <pc:sldChg chg="del">
        <pc:chgData name="Gunnar Birkeland" userId="47777577-119e-429a-b00d-fb3d66c83487" providerId="ADAL" clId="{35C80AAB-9102-4831-B054-A47F152390DF}" dt="2023-11-22T14:45:37.291" v="174" actId="47"/>
        <pc:sldMkLst>
          <pc:docMk/>
          <pc:sldMk cId="720078143" sldId="2147471639"/>
        </pc:sldMkLst>
      </pc:sldChg>
      <pc:sldChg chg="add del">
        <pc:chgData name="Gunnar Birkeland" userId="47777577-119e-429a-b00d-fb3d66c83487" providerId="ADAL" clId="{35C80AAB-9102-4831-B054-A47F152390DF}" dt="2023-11-22T14:47:34.423" v="216" actId="47"/>
        <pc:sldMkLst>
          <pc:docMk/>
          <pc:sldMk cId="3581009101" sldId="2147471642"/>
        </pc:sldMkLst>
      </pc:sldChg>
      <pc:sldChg chg="del">
        <pc:chgData name="Gunnar Birkeland" userId="47777577-119e-429a-b00d-fb3d66c83487" providerId="ADAL" clId="{35C80AAB-9102-4831-B054-A47F152390DF}" dt="2023-11-22T14:47:00.844" v="211" actId="47"/>
        <pc:sldMkLst>
          <pc:docMk/>
          <pc:sldMk cId="3249127047" sldId="2147471643"/>
        </pc:sldMkLst>
      </pc:sldChg>
      <pc:sldChg chg="del">
        <pc:chgData name="Gunnar Birkeland" userId="47777577-119e-429a-b00d-fb3d66c83487" providerId="ADAL" clId="{35C80AAB-9102-4831-B054-A47F152390DF}" dt="2023-11-22T14:47:46.583" v="223" actId="47"/>
        <pc:sldMkLst>
          <pc:docMk/>
          <pc:sldMk cId="0" sldId="2147471644"/>
        </pc:sldMkLst>
      </pc:sldChg>
      <pc:sldChg chg="del">
        <pc:chgData name="Gunnar Birkeland" userId="47777577-119e-429a-b00d-fb3d66c83487" providerId="ADAL" clId="{35C80AAB-9102-4831-B054-A47F152390DF}" dt="2023-11-22T14:47:48.509" v="224" actId="47"/>
        <pc:sldMkLst>
          <pc:docMk/>
          <pc:sldMk cId="0" sldId="2147471645"/>
        </pc:sldMkLst>
      </pc:sldChg>
      <pc:sldChg chg="del">
        <pc:chgData name="Gunnar Birkeland" userId="47777577-119e-429a-b00d-fb3d66c83487" providerId="ADAL" clId="{35C80AAB-9102-4831-B054-A47F152390DF}" dt="2023-11-22T14:47:50.864" v="226" actId="47"/>
        <pc:sldMkLst>
          <pc:docMk/>
          <pc:sldMk cId="1976947491" sldId="2147471646"/>
        </pc:sldMkLst>
      </pc:sldChg>
      <pc:sldChg chg="del">
        <pc:chgData name="Gunnar Birkeland" userId="47777577-119e-429a-b00d-fb3d66c83487" providerId="ADAL" clId="{35C80AAB-9102-4831-B054-A47F152390DF}" dt="2023-11-22T14:46:52.285" v="208" actId="47"/>
        <pc:sldMkLst>
          <pc:docMk/>
          <pc:sldMk cId="1856430524" sldId="2147471648"/>
        </pc:sldMkLst>
      </pc:sldChg>
      <pc:sldChg chg="del">
        <pc:chgData name="Gunnar Birkeland" userId="47777577-119e-429a-b00d-fb3d66c83487" providerId="ADAL" clId="{35C80AAB-9102-4831-B054-A47F152390DF}" dt="2023-11-22T14:46:11.750" v="192" actId="47"/>
        <pc:sldMkLst>
          <pc:docMk/>
          <pc:sldMk cId="3635833416" sldId="2147471650"/>
        </pc:sldMkLst>
      </pc:sldChg>
      <pc:sldChg chg="del">
        <pc:chgData name="Gunnar Birkeland" userId="47777577-119e-429a-b00d-fb3d66c83487" providerId="ADAL" clId="{35C80AAB-9102-4831-B054-A47F152390DF}" dt="2023-11-22T14:46:19.082" v="194" actId="47"/>
        <pc:sldMkLst>
          <pc:docMk/>
          <pc:sldMk cId="1758838446" sldId="2147471653"/>
        </pc:sldMkLst>
      </pc:sldChg>
      <pc:sldChg chg="del">
        <pc:chgData name="Gunnar Birkeland" userId="47777577-119e-429a-b00d-fb3d66c83487" providerId="ADAL" clId="{35C80AAB-9102-4831-B054-A47F152390DF}" dt="2023-11-22T14:46:05.895" v="191" actId="47"/>
        <pc:sldMkLst>
          <pc:docMk/>
          <pc:sldMk cId="3117056685" sldId="2147471655"/>
        </pc:sldMkLst>
      </pc:sldChg>
      <pc:sldChg chg="del">
        <pc:chgData name="Gunnar Birkeland" userId="47777577-119e-429a-b00d-fb3d66c83487" providerId="ADAL" clId="{35C80AAB-9102-4831-B054-A47F152390DF}" dt="2023-11-22T14:46:12.441" v="193" actId="47"/>
        <pc:sldMkLst>
          <pc:docMk/>
          <pc:sldMk cId="1072158190" sldId="2147471656"/>
        </pc:sldMkLst>
      </pc:sldChg>
      <pc:sldChg chg="del">
        <pc:chgData name="Gunnar Birkeland" userId="47777577-119e-429a-b00d-fb3d66c83487" providerId="ADAL" clId="{35C80AAB-9102-4831-B054-A47F152390DF}" dt="2023-11-22T14:45:51.218" v="184" actId="47"/>
        <pc:sldMkLst>
          <pc:docMk/>
          <pc:sldMk cId="0" sldId="2147471657"/>
        </pc:sldMkLst>
      </pc:sldChg>
      <pc:sldChg chg="del">
        <pc:chgData name="Gunnar Birkeland" userId="47777577-119e-429a-b00d-fb3d66c83487" providerId="ADAL" clId="{35C80AAB-9102-4831-B054-A47F152390DF}" dt="2023-11-22T14:45:51.879" v="185" actId="47"/>
        <pc:sldMkLst>
          <pc:docMk/>
          <pc:sldMk cId="3460850130" sldId="2147471658"/>
        </pc:sldMkLst>
      </pc:sldChg>
      <pc:sldChg chg="del">
        <pc:chgData name="Gunnar Birkeland" userId="47777577-119e-429a-b00d-fb3d66c83487" providerId="ADAL" clId="{35C80AAB-9102-4831-B054-A47F152390DF}" dt="2023-11-22T14:45:52.825" v="186" actId="47"/>
        <pc:sldMkLst>
          <pc:docMk/>
          <pc:sldMk cId="3324601811" sldId="2147471659"/>
        </pc:sldMkLst>
      </pc:sldChg>
      <pc:sldChg chg="del">
        <pc:chgData name="Gunnar Birkeland" userId="47777577-119e-429a-b00d-fb3d66c83487" providerId="ADAL" clId="{35C80AAB-9102-4831-B054-A47F152390DF}" dt="2023-11-22T14:45:53.449" v="187" actId="47"/>
        <pc:sldMkLst>
          <pc:docMk/>
          <pc:sldMk cId="0" sldId="2147471660"/>
        </pc:sldMkLst>
      </pc:sldChg>
      <pc:sldChg chg="del">
        <pc:chgData name="Gunnar Birkeland" userId="47777577-119e-429a-b00d-fb3d66c83487" providerId="ADAL" clId="{35C80AAB-9102-4831-B054-A47F152390DF}" dt="2023-11-22T14:45:54.590" v="189" actId="47"/>
        <pc:sldMkLst>
          <pc:docMk/>
          <pc:sldMk cId="0" sldId="2147471661"/>
        </pc:sldMkLst>
      </pc:sldChg>
      <pc:sldChg chg="del">
        <pc:chgData name="Gunnar Birkeland" userId="47777577-119e-429a-b00d-fb3d66c83487" providerId="ADAL" clId="{35C80AAB-9102-4831-B054-A47F152390DF}" dt="2023-11-22T14:44:52.868" v="170" actId="47"/>
        <pc:sldMkLst>
          <pc:docMk/>
          <pc:sldMk cId="1496199712" sldId="2147471662"/>
        </pc:sldMkLst>
      </pc:sldChg>
      <pc:sldChg chg="modSp">
        <pc:chgData name="Gunnar Birkeland" userId="47777577-119e-429a-b00d-fb3d66c83487" providerId="ADAL" clId="{35C80AAB-9102-4831-B054-A47F152390DF}" dt="2023-11-22T14:23:13.784" v="0" actId="1036"/>
        <pc:sldMkLst>
          <pc:docMk/>
          <pc:sldMk cId="821882811" sldId="2147471668"/>
        </pc:sldMkLst>
        <pc:picChg chg="mod">
          <ac:chgData name="Gunnar Birkeland" userId="47777577-119e-429a-b00d-fb3d66c83487" providerId="ADAL" clId="{35C80AAB-9102-4831-B054-A47F152390DF}" dt="2023-11-22T14:23:13.784" v="0" actId="1036"/>
          <ac:picMkLst>
            <pc:docMk/>
            <pc:sldMk cId="821882811" sldId="2147471668"/>
            <ac:picMk id="1028" creationId="{11EC7C6C-5426-A05A-7E96-32BA3844BDCD}"/>
          </ac:picMkLst>
        </pc:picChg>
      </pc:sldChg>
      <pc:sldChg chg="del">
        <pc:chgData name="Gunnar Birkeland" userId="47777577-119e-429a-b00d-fb3d66c83487" providerId="ADAL" clId="{35C80AAB-9102-4831-B054-A47F152390DF}" dt="2023-11-22T14:28:45.314" v="1" actId="47"/>
        <pc:sldMkLst>
          <pc:docMk/>
          <pc:sldMk cId="4033151695" sldId="2147471669"/>
        </pc:sldMkLst>
      </pc:sldChg>
      <pc:sldChg chg="del">
        <pc:chgData name="Gunnar Birkeland" userId="47777577-119e-429a-b00d-fb3d66c83487" providerId="ADAL" clId="{35C80AAB-9102-4831-B054-A47F152390DF}" dt="2023-11-22T14:45:43.090" v="180" actId="47"/>
        <pc:sldMkLst>
          <pc:docMk/>
          <pc:sldMk cId="1916636706" sldId="2147471671"/>
        </pc:sldMkLst>
      </pc:sldChg>
      <pc:sldChg chg="del">
        <pc:chgData name="Gunnar Birkeland" userId="47777577-119e-429a-b00d-fb3d66c83487" providerId="ADAL" clId="{35C80AAB-9102-4831-B054-A47F152390DF}" dt="2023-11-22T14:28:50.618" v="2" actId="47"/>
        <pc:sldMkLst>
          <pc:docMk/>
          <pc:sldMk cId="2436570123" sldId="2147471672"/>
        </pc:sldMkLst>
      </pc:sldChg>
      <pc:sldChg chg="del">
        <pc:chgData name="Gunnar Birkeland" userId="47777577-119e-429a-b00d-fb3d66c83487" providerId="ADAL" clId="{35C80AAB-9102-4831-B054-A47F152390DF}" dt="2023-11-22T14:45:46.284" v="182" actId="47"/>
        <pc:sldMkLst>
          <pc:docMk/>
          <pc:sldMk cId="2187988811" sldId="2147471673"/>
        </pc:sldMkLst>
      </pc:sldChg>
      <pc:sldChg chg="del">
        <pc:chgData name="Gunnar Birkeland" userId="47777577-119e-429a-b00d-fb3d66c83487" providerId="ADAL" clId="{35C80AAB-9102-4831-B054-A47F152390DF}" dt="2023-11-22T14:45:41.092" v="178" actId="47"/>
        <pc:sldMkLst>
          <pc:docMk/>
          <pc:sldMk cId="3276669534" sldId="2147471674"/>
        </pc:sldMkLst>
      </pc:sldChg>
      <pc:sldChg chg="del">
        <pc:chgData name="Gunnar Birkeland" userId="47777577-119e-429a-b00d-fb3d66c83487" providerId="ADAL" clId="{35C80AAB-9102-4831-B054-A47F152390DF}" dt="2023-11-22T14:45:45.814" v="181" actId="47"/>
        <pc:sldMkLst>
          <pc:docMk/>
          <pc:sldMk cId="3515145042" sldId="2147471675"/>
        </pc:sldMkLst>
      </pc:sldChg>
      <pc:sldChg chg="del">
        <pc:chgData name="Gunnar Birkeland" userId="47777577-119e-429a-b00d-fb3d66c83487" providerId="ADAL" clId="{35C80AAB-9102-4831-B054-A47F152390DF}" dt="2023-11-22T14:45:42.650" v="179" actId="47"/>
        <pc:sldMkLst>
          <pc:docMk/>
          <pc:sldMk cId="57902083" sldId="2147471676"/>
        </pc:sldMkLst>
      </pc:sldChg>
      <pc:sldChg chg="modSp add del mod ord">
        <pc:chgData name="Gunnar Birkeland" userId="47777577-119e-429a-b00d-fb3d66c83487" providerId="ADAL" clId="{35C80AAB-9102-4831-B054-A47F152390DF}" dt="2023-11-22T14:31:18.890" v="167" actId="1076"/>
        <pc:sldMkLst>
          <pc:docMk/>
          <pc:sldMk cId="959771899" sldId="2147471678"/>
        </pc:sldMkLst>
        <pc:spChg chg="mod">
          <ac:chgData name="Gunnar Birkeland" userId="47777577-119e-429a-b00d-fb3d66c83487" providerId="ADAL" clId="{35C80AAB-9102-4831-B054-A47F152390DF}" dt="2023-11-22T14:31:18.890" v="167" actId="1076"/>
          <ac:spMkLst>
            <pc:docMk/>
            <pc:sldMk cId="959771899" sldId="2147471678"/>
            <ac:spMk id="2" creationId="{E63F5452-760A-626D-05DC-AE25D4B9A363}"/>
          </ac:spMkLst>
        </pc:spChg>
        <pc:spChg chg="mod">
          <ac:chgData name="Gunnar Birkeland" userId="47777577-119e-429a-b00d-fb3d66c83487" providerId="ADAL" clId="{35C80AAB-9102-4831-B054-A47F152390DF}" dt="2023-11-22T14:31:00.786" v="166" actId="20577"/>
          <ac:spMkLst>
            <pc:docMk/>
            <pc:sldMk cId="959771899" sldId="2147471678"/>
            <ac:spMk id="3" creationId="{7F8B5E78-79CA-291C-0AC5-87DFA18B7EB2}"/>
          </ac:spMkLst>
        </pc:spChg>
      </pc:sldChg>
      <pc:sldChg chg="del">
        <pc:chgData name="Gunnar Birkeland" userId="47777577-119e-429a-b00d-fb3d66c83487" providerId="ADAL" clId="{35C80AAB-9102-4831-B054-A47F152390DF}" dt="2023-11-22T14:45:40.244" v="176" actId="47"/>
        <pc:sldMkLst>
          <pc:docMk/>
          <pc:sldMk cId="658025248" sldId="2147471679"/>
        </pc:sldMkLst>
      </pc:sldChg>
      <pc:sldChg chg="del">
        <pc:chgData name="Gunnar Birkeland" userId="47777577-119e-429a-b00d-fb3d66c83487" providerId="ADAL" clId="{35C80AAB-9102-4831-B054-A47F152390DF}" dt="2023-11-22T14:45:46.786" v="183" actId="47"/>
        <pc:sldMkLst>
          <pc:docMk/>
          <pc:sldMk cId="3384173567" sldId="2147471680"/>
        </pc:sldMkLst>
      </pc:sldChg>
      <pc:sldChg chg="del">
        <pc:chgData name="Gunnar Birkeland" userId="47777577-119e-429a-b00d-fb3d66c83487" providerId="ADAL" clId="{35C80AAB-9102-4831-B054-A47F152390DF}" dt="2023-11-22T14:45:57.333" v="190" actId="47"/>
        <pc:sldMkLst>
          <pc:docMk/>
          <pc:sldMk cId="3897010076" sldId="2147471681"/>
        </pc:sldMkLst>
      </pc:sldChg>
      <pc:sldChg chg="del">
        <pc:chgData name="Gunnar Birkeland" userId="47777577-119e-429a-b00d-fb3d66c83487" providerId="ADAL" clId="{35C80AAB-9102-4831-B054-A47F152390DF}" dt="2023-11-22T14:46:53.310" v="209" actId="47"/>
        <pc:sldMkLst>
          <pc:docMk/>
          <pc:sldMk cId="2108121715" sldId="2147471682"/>
        </pc:sldMkLst>
      </pc:sldChg>
      <pc:sldChg chg="del">
        <pc:chgData name="Gunnar Birkeland" userId="47777577-119e-429a-b00d-fb3d66c83487" providerId="ADAL" clId="{35C80AAB-9102-4831-B054-A47F152390DF}" dt="2023-11-22T14:46:20.720" v="195" actId="47"/>
        <pc:sldMkLst>
          <pc:docMk/>
          <pc:sldMk cId="2557792612" sldId="2147471683"/>
        </pc:sldMkLst>
      </pc:sldChg>
      <pc:sldChg chg="del">
        <pc:chgData name="Gunnar Birkeland" userId="47777577-119e-429a-b00d-fb3d66c83487" providerId="ADAL" clId="{35C80AAB-9102-4831-B054-A47F152390DF}" dt="2023-11-22T14:46:43.188" v="199" actId="47"/>
        <pc:sldMkLst>
          <pc:docMk/>
          <pc:sldMk cId="3432658714" sldId="2147471684"/>
        </pc:sldMkLst>
      </pc:sldChg>
      <pc:sldChg chg="del">
        <pc:chgData name="Gunnar Birkeland" userId="47777577-119e-429a-b00d-fb3d66c83487" providerId="ADAL" clId="{35C80AAB-9102-4831-B054-A47F152390DF}" dt="2023-11-22T14:46:48.940" v="203" actId="47"/>
        <pc:sldMkLst>
          <pc:docMk/>
          <pc:sldMk cId="620275140" sldId="2147471685"/>
        </pc:sldMkLst>
      </pc:sldChg>
      <pc:sldChg chg="del">
        <pc:chgData name="Gunnar Birkeland" userId="47777577-119e-429a-b00d-fb3d66c83487" providerId="ADAL" clId="{35C80AAB-9102-4831-B054-A47F152390DF}" dt="2023-11-22T14:46:50.809" v="206" actId="47"/>
        <pc:sldMkLst>
          <pc:docMk/>
          <pc:sldMk cId="734641937" sldId="2147471686"/>
        </pc:sldMkLst>
      </pc:sldChg>
      <pc:sldChg chg="del">
        <pc:chgData name="Gunnar Birkeland" userId="47777577-119e-429a-b00d-fb3d66c83487" providerId="ADAL" clId="{35C80AAB-9102-4831-B054-A47F152390DF}" dt="2023-11-22T14:46:59.525" v="210" actId="47"/>
        <pc:sldMkLst>
          <pc:docMk/>
          <pc:sldMk cId="1348391348" sldId="2147471687"/>
        </pc:sldMkLst>
      </pc:sldChg>
      <pc:sldChg chg="del">
        <pc:chgData name="Gunnar Birkeland" userId="47777577-119e-429a-b00d-fb3d66c83487" providerId="ADAL" clId="{35C80AAB-9102-4831-B054-A47F152390DF}" dt="2023-11-22T14:47:01.771" v="212" actId="47"/>
        <pc:sldMkLst>
          <pc:docMk/>
          <pc:sldMk cId="3500665788" sldId="2147471688"/>
        </pc:sldMkLst>
      </pc:sldChg>
      <pc:sldChg chg="del">
        <pc:chgData name="Gunnar Birkeland" userId="47777577-119e-429a-b00d-fb3d66c83487" providerId="ADAL" clId="{35C80AAB-9102-4831-B054-A47F152390DF}" dt="2023-11-22T14:47:36.769" v="217" actId="47"/>
        <pc:sldMkLst>
          <pc:docMk/>
          <pc:sldMk cId="3641618683" sldId="2147471689"/>
        </pc:sldMkLst>
      </pc:sldChg>
      <pc:sldChg chg="del">
        <pc:chgData name="Gunnar Birkeland" userId="47777577-119e-429a-b00d-fb3d66c83487" providerId="ADAL" clId="{35C80AAB-9102-4831-B054-A47F152390DF}" dt="2023-11-22T14:47:43.691" v="222" actId="47"/>
        <pc:sldMkLst>
          <pc:docMk/>
          <pc:sldMk cId="1984278624" sldId="2147471690"/>
        </pc:sldMkLst>
      </pc:sldChg>
      <pc:sldChg chg="del">
        <pc:chgData name="Gunnar Birkeland" userId="47777577-119e-429a-b00d-fb3d66c83487" providerId="ADAL" clId="{35C80AAB-9102-4831-B054-A47F152390DF}" dt="2023-11-22T14:47:52.078" v="227" actId="47"/>
        <pc:sldMkLst>
          <pc:docMk/>
          <pc:sldMk cId="2996294401" sldId="2147471691"/>
        </pc:sldMkLst>
      </pc:sldChg>
      <pc:sldChg chg="del">
        <pc:chgData name="Gunnar Birkeland" userId="47777577-119e-429a-b00d-fb3d66c83487" providerId="ADAL" clId="{35C80AAB-9102-4831-B054-A47F152390DF}" dt="2023-11-22T14:46:48.139" v="202" actId="47"/>
        <pc:sldMkLst>
          <pc:docMk/>
          <pc:sldMk cId="2332276472" sldId="2147471693"/>
        </pc:sldMkLst>
      </pc:sldChg>
      <pc:sldChg chg="addSp delSp modSp add mod modAnim">
        <pc:chgData name="Gunnar Birkeland" userId="47777577-119e-429a-b00d-fb3d66c83487" providerId="ADAL" clId="{35C80AAB-9102-4831-B054-A47F152390DF}" dt="2023-11-22T15:45:23.354" v="1154" actId="313"/>
        <pc:sldMkLst>
          <pc:docMk/>
          <pc:sldMk cId="2760854443" sldId="2147471695"/>
        </pc:sldMkLst>
        <pc:spChg chg="add mod">
          <ac:chgData name="Gunnar Birkeland" userId="47777577-119e-429a-b00d-fb3d66c83487" providerId="ADAL" clId="{35C80AAB-9102-4831-B054-A47F152390DF}" dt="2023-11-22T15:45:23.354" v="1154" actId="313"/>
          <ac:spMkLst>
            <pc:docMk/>
            <pc:sldMk cId="2760854443" sldId="2147471695"/>
            <ac:spMk id="3" creationId="{132FE64E-1035-D619-9B03-3FF57FB1A714}"/>
          </ac:spMkLst>
        </pc:spChg>
        <pc:spChg chg="mod">
          <ac:chgData name="Gunnar Birkeland" userId="47777577-119e-429a-b00d-fb3d66c83487" providerId="ADAL" clId="{35C80AAB-9102-4831-B054-A47F152390DF}" dt="2023-11-22T14:49:35.195" v="253" actId="20577"/>
          <ac:spMkLst>
            <pc:docMk/>
            <pc:sldMk cId="2760854443" sldId="2147471695"/>
            <ac:spMk id="7" creationId="{96B1D506-AEC8-FDFF-586A-749473D8F67A}"/>
          </ac:spMkLst>
        </pc:spChg>
        <pc:spChg chg="del">
          <ac:chgData name="Gunnar Birkeland" userId="47777577-119e-429a-b00d-fb3d66c83487" providerId="ADAL" clId="{35C80AAB-9102-4831-B054-A47F152390DF}" dt="2023-11-22T14:49:13.489" v="230" actId="478"/>
          <ac:spMkLst>
            <pc:docMk/>
            <pc:sldMk cId="2760854443" sldId="2147471695"/>
            <ac:spMk id="11" creationId="{110BCEBA-7491-D8F0-5B46-46558527E3C6}"/>
          </ac:spMkLst>
        </pc:spChg>
        <pc:picChg chg="del">
          <ac:chgData name="Gunnar Birkeland" userId="47777577-119e-429a-b00d-fb3d66c83487" providerId="ADAL" clId="{35C80AAB-9102-4831-B054-A47F152390DF}" dt="2023-11-22T14:49:08.976" v="228" actId="478"/>
          <ac:picMkLst>
            <pc:docMk/>
            <pc:sldMk cId="2760854443" sldId="2147471695"/>
            <ac:picMk id="6" creationId="{6335E547-34CA-66D8-BCA7-800D0A4DB6EB}"/>
          </ac:picMkLst>
        </pc:picChg>
        <pc:picChg chg="del">
          <ac:chgData name="Gunnar Birkeland" userId="47777577-119e-429a-b00d-fb3d66c83487" providerId="ADAL" clId="{35C80AAB-9102-4831-B054-A47F152390DF}" dt="2023-11-22T14:49:10.506" v="229" actId="478"/>
          <ac:picMkLst>
            <pc:docMk/>
            <pc:sldMk cId="2760854443" sldId="2147471695"/>
            <ac:picMk id="10" creationId="{49758443-0009-E3A9-FE27-0B092A30E866}"/>
          </ac:picMkLst>
        </pc:picChg>
      </pc:sldChg>
      <pc:sldMasterChg chg="del delSldLayout">
        <pc:chgData name="Gunnar Birkeland" userId="47777577-119e-429a-b00d-fb3d66c83487" providerId="ADAL" clId="{35C80AAB-9102-4831-B054-A47F152390DF}" dt="2023-11-22T14:28:50.618" v="2" actId="47"/>
        <pc:sldMasterMkLst>
          <pc:docMk/>
          <pc:sldMasterMk cId="2179824322" sldId="2147483721"/>
        </pc:sldMasterMkLst>
        <pc:sldLayoutChg chg="del">
          <pc:chgData name="Gunnar Birkeland" userId="47777577-119e-429a-b00d-fb3d66c83487" providerId="ADAL" clId="{35C80AAB-9102-4831-B054-A47F152390DF}" dt="2023-11-22T14:28:50.618" v="2" actId="47"/>
          <pc:sldLayoutMkLst>
            <pc:docMk/>
            <pc:sldMasterMk cId="2179824322" sldId="2147483721"/>
            <pc:sldLayoutMk cId="3489972513" sldId="2147483731"/>
          </pc:sldLayoutMkLst>
        </pc:sldLayoutChg>
        <pc:sldLayoutChg chg="del">
          <pc:chgData name="Gunnar Birkeland" userId="47777577-119e-429a-b00d-fb3d66c83487" providerId="ADAL" clId="{35C80AAB-9102-4831-B054-A47F152390DF}" dt="2023-11-22T14:28:50.618" v="2" actId="47"/>
          <pc:sldLayoutMkLst>
            <pc:docMk/>
            <pc:sldMasterMk cId="2179824322" sldId="2147483721"/>
            <pc:sldLayoutMk cId="4170440093" sldId="2147484146"/>
          </pc:sldLayoutMkLst>
        </pc:sldLayoutChg>
      </pc:sldMasterChg>
      <pc:sldMasterChg chg="del delSldLayout">
        <pc:chgData name="Gunnar Birkeland" userId="47777577-119e-429a-b00d-fb3d66c83487" providerId="ADAL" clId="{35C80AAB-9102-4831-B054-A47F152390DF}" dt="2023-11-22T14:47:00.844" v="211" actId="47"/>
        <pc:sldMasterMkLst>
          <pc:docMk/>
          <pc:sldMasterMk cId="92040092" sldId="2147483748"/>
        </pc:sldMasterMkLst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749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750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751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755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756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759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765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3822739031" sldId="2147483766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4180455531" sldId="2147483767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2232764163" sldId="2147483768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3131031795" sldId="2147483769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0" sldId="2147483956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2157726310" sldId="2147484021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1514561383" sldId="2147484022"/>
          </pc:sldLayoutMkLst>
        </pc:sldLayoutChg>
        <pc:sldLayoutChg chg="del">
          <pc:chgData name="Gunnar Birkeland" userId="47777577-119e-429a-b00d-fb3d66c83487" providerId="ADAL" clId="{35C80AAB-9102-4831-B054-A47F152390DF}" dt="2023-11-22T14:47:00.844" v="211" actId="47"/>
          <pc:sldLayoutMkLst>
            <pc:docMk/>
            <pc:sldMasterMk cId="92040092" sldId="2147483748"/>
            <pc:sldLayoutMk cId="1304048528" sldId="2147484023"/>
          </pc:sldLayoutMkLst>
        </pc:sldLayoutChg>
      </pc:sldMasterChg>
      <pc:sldMasterChg chg="delSldLayout">
        <pc:chgData name="Gunnar Birkeland" userId="47777577-119e-429a-b00d-fb3d66c83487" providerId="ADAL" clId="{35C80AAB-9102-4831-B054-A47F152390DF}" dt="2023-11-22T14:47:39.035" v="220" actId="47"/>
        <pc:sldMasterMkLst>
          <pc:docMk/>
          <pc:sldMasterMk cId="0" sldId="2147483806"/>
        </pc:sldMasterMkLst>
        <pc:sldLayoutChg chg="del">
          <pc:chgData name="Gunnar Birkeland" userId="47777577-119e-429a-b00d-fb3d66c83487" providerId="ADAL" clId="{35C80AAB-9102-4831-B054-A47F152390DF}" dt="2023-11-22T14:45:53.449" v="187" actId="47"/>
          <pc:sldLayoutMkLst>
            <pc:docMk/>
            <pc:sldMasterMk cId="0" sldId="2147483806"/>
            <pc:sldLayoutMk cId="612620252" sldId="2147483807"/>
          </pc:sldLayoutMkLst>
        </pc:sldLayoutChg>
        <pc:sldLayoutChg chg="del">
          <pc:chgData name="Gunnar Birkeland" userId="47777577-119e-429a-b00d-fb3d66c83487" providerId="ADAL" clId="{35C80AAB-9102-4831-B054-A47F152390DF}" dt="2023-11-22T14:46:11.750" v="192" actId="47"/>
          <pc:sldLayoutMkLst>
            <pc:docMk/>
            <pc:sldMasterMk cId="0" sldId="2147483806"/>
            <pc:sldLayoutMk cId="2151303403" sldId="2147483815"/>
          </pc:sldLayoutMkLst>
        </pc:sldLayoutChg>
        <pc:sldLayoutChg chg="del">
          <pc:chgData name="Gunnar Birkeland" userId="47777577-119e-429a-b00d-fb3d66c83487" providerId="ADAL" clId="{35C80AAB-9102-4831-B054-A47F152390DF}" dt="2023-11-22T14:45:37.291" v="174" actId="47"/>
          <pc:sldLayoutMkLst>
            <pc:docMk/>
            <pc:sldMasterMk cId="0" sldId="2147483806"/>
            <pc:sldLayoutMk cId="921766824" sldId="2147484082"/>
          </pc:sldLayoutMkLst>
        </pc:sldLayoutChg>
        <pc:sldLayoutChg chg="del">
          <pc:chgData name="Gunnar Birkeland" userId="47777577-119e-429a-b00d-fb3d66c83487" providerId="ADAL" clId="{35C80AAB-9102-4831-B054-A47F152390DF}" dt="2023-11-22T14:45:54.141" v="188" actId="47"/>
          <pc:sldLayoutMkLst>
            <pc:docMk/>
            <pc:sldMasterMk cId="0" sldId="2147483806"/>
            <pc:sldLayoutMk cId="1538849959" sldId="2147484090"/>
          </pc:sldLayoutMkLst>
        </pc:sldLayoutChg>
        <pc:sldLayoutChg chg="del">
          <pc:chgData name="Gunnar Birkeland" userId="47777577-119e-429a-b00d-fb3d66c83487" providerId="ADAL" clId="{35C80AAB-9102-4831-B054-A47F152390DF}" dt="2023-11-22T14:46:44.468" v="200" actId="47"/>
          <pc:sldLayoutMkLst>
            <pc:docMk/>
            <pc:sldMasterMk cId="0" sldId="2147483806"/>
            <pc:sldLayoutMk cId="2599665063" sldId="2147484147"/>
          </pc:sldLayoutMkLst>
        </pc:sldLayoutChg>
        <pc:sldLayoutChg chg="del">
          <pc:chgData name="Gunnar Birkeland" userId="47777577-119e-429a-b00d-fb3d66c83487" providerId="ADAL" clId="{35C80AAB-9102-4831-B054-A47F152390DF}" dt="2023-11-22T14:47:39.035" v="220" actId="47"/>
          <pc:sldLayoutMkLst>
            <pc:docMk/>
            <pc:sldMasterMk cId="0" sldId="2147483806"/>
            <pc:sldLayoutMk cId="4093049866" sldId="2147484148"/>
          </pc:sldLayoutMkLst>
        </pc:sldLayoutChg>
      </pc:sldMasterChg>
      <pc:sldMasterChg chg="del delSldLayout">
        <pc:chgData name="Gunnar Birkeland" userId="47777577-119e-429a-b00d-fb3d66c83487" providerId="ADAL" clId="{35C80AAB-9102-4831-B054-A47F152390DF}" dt="2023-11-22T14:46:12.441" v="193" actId="47"/>
        <pc:sldMasterMkLst>
          <pc:docMk/>
          <pc:sldMasterMk cId="92040092" sldId="2147483816"/>
        </pc:sldMasterMkLst>
        <pc:sldLayoutChg chg="del">
          <pc:chgData name="Gunnar Birkeland" userId="47777577-119e-429a-b00d-fb3d66c83487" providerId="ADAL" clId="{35C80AAB-9102-4831-B054-A47F152390DF}" dt="2023-11-22T14:46:12.441" v="193" actId="47"/>
          <pc:sldLayoutMkLst>
            <pc:docMk/>
            <pc:sldMasterMk cId="92040092" sldId="2147483816"/>
            <pc:sldLayoutMk cId="3131031795" sldId="2147483817"/>
          </pc:sldLayoutMkLst>
        </pc:sldLayoutChg>
      </pc:sldMasterChg>
      <pc:sldMasterChg chg="del delSldLayout">
        <pc:chgData name="Gunnar Birkeland" userId="47777577-119e-429a-b00d-fb3d66c83487" providerId="ADAL" clId="{35C80AAB-9102-4831-B054-A47F152390DF}" dt="2023-11-22T14:45:43.090" v="180" actId="47"/>
        <pc:sldMasterMkLst>
          <pc:docMk/>
          <pc:sldMasterMk cId="909220732" sldId="2147483861"/>
        </pc:sldMasterMkLst>
        <pc:sldLayoutChg chg="del">
          <pc:chgData name="Gunnar Birkeland" userId="47777577-119e-429a-b00d-fb3d66c83487" providerId="ADAL" clId="{35C80AAB-9102-4831-B054-A47F152390DF}" dt="2023-11-22T14:45:43.090" v="180" actId="47"/>
          <pc:sldLayoutMkLst>
            <pc:docMk/>
            <pc:sldMasterMk cId="909220732" sldId="2147483861"/>
            <pc:sldLayoutMk cId="2690296846" sldId="2147484130"/>
          </pc:sldLayoutMkLst>
        </pc:sldLayoutChg>
      </pc:sldMasterChg>
      <pc:sldMasterChg chg="del delSldLayout">
        <pc:chgData name="Gunnar Birkeland" userId="47777577-119e-429a-b00d-fb3d66c83487" providerId="ADAL" clId="{35C80AAB-9102-4831-B054-A47F152390DF}" dt="2023-11-22T14:47:50.864" v="226" actId="47"/>
        <pc:sldMasterMkLst>
          <pc:docMk/>
          <pc:sldMasterMk cId="1558651578" sldId="2147484024"/>
        </pc:sldMasterMkLst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2220048505" sldId="2147484025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2185578535" sldId="2147484026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1280690242" sldId="2147484027"/>
          </pc:sldLayoutMkLst>
        </pc:sldLayoutChg>
        <pc:sldLayoutChg chg="del">
          <pc:chgData name="Gunnar Birkeland" userId="47777577-119e-429a-b00d-fb3d66c83487" providerId="ADAL" clId="{35C80AAB-9102-4831-B054-A47F152390DF}" dt="2023-11-22T14:47:46.583" v="223" actId="47"/>
          <pc:sldLayoutMkLst>
            <pc:docMk/>
            <pc:sldMasterMk cId="1558651578" sldId="2147484024"/>
            <pc:sldLayoutMk cId="1966026151" sldId="2147484028"/>
          </pc:sldLayoutMkLst>
        </pc:sldLayoutChg>
        <pc:sldLayoutChg chg="del">
          <pc:chgData name="Gunnar Birkeland" userId="47777577-119e-429a-b00d-fb3d66c83487" providerId="ADAL" clId="{35C80AAB-9102-4831-B054-A47F152390DF}" dt="2023-11-22T14:47:48.509" v="224" actId="47"/>
          <pc:sldLayoutMkLst>
            <pc:docMk/>
            <pc:sldMasterMk cId="1558651578" sldId="2147484024"/>
            <pc:sldLayoutMk cId="2041025846" sldId="2147484029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4045475467" sldId="2147484030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1662229419" sldId="2147484031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1275552518" sldId="2147484032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1023472127" sldId="2147484033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1918299152" sldId="2147484034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4145891895" sldId="2147484035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1888709347" sldId="2147484036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2051245309" sldId="2147484037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452877218" sldId="2147484038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1973501635" sldId="2147484039"/>
          </pc:sldLayoutMkLst>
        </pc:sldLayoutChg>
        <pc:sldLayoutChg chg="del">
          <pc:chgData name="Gunnar Birkeland" userId="47777577-119e-429a-b00d-fb3d66c83487" providerId="ADAL" clId="{35C80AAB-9102-4831-B054-A47F152390DF}" dt="2023-11-22T14:47:50.864" v="226" actId="47"/>
          <pc:sldLayoutMkLst>
            <pc:docMk/>
            <pc:sldMasterMk cId="1558651578" sldId="2147484024"/>
            <pc:sldLayoutMk cId="3650570166" sldId="2147484040"/>
          </pc:sldLayoutMkLst>
        </pc:sldLayoutChg>
      </pc:sldMasterChg>
      <pc:sldMasterChg chg="modSldLayout">
        <pc:chgData name="Gunnar Birkeland" userId="47777577-119e-429a-b00d-fb3d66c83487" providerId="ADAL" clId="{35C80AAB-9102-4831-B054-A47F152390DF}" dt="2023-11-22T14:44:36.951" v="168" actId="27028"/>
        <pc:sldMasterMkLst>
          <pc:docMk/>
          <pc:sldMasterMk cId="2599624570" sldId="2147484041"/>
        </pc:sldMasterMkLst>
        <pc:sldLayoutChg chg="replId">
          <pc:chgData name="Gunnar Birkeland" userId="47777577-119e-429a-b00d-fb3d66c83487" providerId="ADAL" clId="{35C80AAB-9102-4831-B054-A47F152390DF}" dt="2023-11-22T14:44:36.951" v="168" actId="27028"/>
          <pc:sldLayoutMkLst>
            <pc:docMk/>
            <pc:sldMasterMk cId="2599624570" sldId="2147484041"/>
            <pc:sldLayoutMk cId="866788972" sldId="2147484149"/>
          </pc:sldLayoutMkLst>
        </pc:sldLayoutChg>
      </pc:sldMasterChg>
      <pc:sldMasterChg chg="add addSldLayout">
        <pc:chgData name="Gunnar Birkeland" userId="47777577-119e-429a-b00d-fb3d66c83487" providerId="ADAL" clId="{35C80AAB-9102-4831-B054-A47F152390DF}" dt="2023-11-22T14:44:36.951" v="168" actId="27028"/>
        <pc:sldMasterMkLst>
          <pc:docMk/>
          <pc:sldMasterMk cId="3851060382" sldId="2147484050"/>
        </pc:sldMasterMkLst>
        <pc:sldLayoutChg chg="add">
          <pc:chgData name="Gunnar Birkeland" userId="47777577-119e-429a-b00d-fb3d66c83487" providerId="ADAL" clId="{35C80AAB-9102-4831-B054-A47F152390DF}" dt="2023-11-22T14:44:36.951" v="168" actId="27028"/>
          <pc:sldLayoutMkLst>
            <pc:docMk/>
            <pc:sldMasterMk cId="3851060382" sldId="2147484050"/>
            <pc:sldLayoutMk cId="2967638008" sldId="2147483711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52F38698-F703-3038-2938-FA1B8B97701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DAAB147D-308C-2243-C619-97FD5BEECB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423B3A9-BE0E-40D9-93F7-85939D09373B}" type="datetimeFigureOut">
              <a:rPr lang="en-GB"/>
              <a:pPr>
                <a:defRPr/>
              </a:pPr>
              <a:t>23/11/2023</a:t>
            </a:fld>
            <a:endParaRPr lang="en-GB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996BC050-F308-8D89-69AA-C531739179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E49A5F7-474C-3E53-E13E-41D69B8CCF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0014B01-7834-4726-B614-50574828E2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0599488-0377-CC98-E9E0-B81E2B058C1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B684A2-7EC1-1EFD-9630-B685113CC5C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AD581A7-6240-4EE8-B46F-AB2194CD1F94}" type="datetimeFigureOut">
              <a:rPr lang="en-GB"/>
              <a:pPr>
                <a:defRPr/>
              </a:pPr>
              <a:t>23/11/2023</a:t>
            </a:fld>
            <a:endParaRPr lang="en-GB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CDCBDF4-B8F3-3E2E-F211-C6E47F6D67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b-NO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8DF137F-5705-3753-A87D-84F303B021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33493E-DCEC-2D73-5BA1-44875D3B398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821CCA-EA37-F260-E86A-E6959935D2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6C5FABE-5CE0-4B01-A7E1-EF7B07381C7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74763" y="120650"/>
            <a:ext cx="4295775" cy="24177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Paris goals </a:t>
            </a:r>
          </a:p>
          <a:p>
            <a:r>
              <a:rPr lang="nb-NO"/>
              <a:t>Energy trilemma; reliable, affordable, and sustainable energy</a:t>
            </a:r>
          </a:p>
          <a:p>
            <a:r>
              <a:rPr lang="nb-NO"/>
              <a:t>Electricity is the obvious answer</a:t>
            </a:r>
          </a:p>
          <a:p>
            <a:r>
              <a:rPr lang="nb-NO"/>
              <a:t>Wind ma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0BBC05-4A6C-4A4C-8C1F-9018E3ADE126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7764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A1D78D-029C-42B2-B9C9-7B53C02517F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3019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Plassholder for lysbilde 1">
            <a:extLst>
              <a:ext uri="{FF2B5EF4-FFF2-40B4-BE49-F238E27FC236}">
                <a16:creationId xmlns:a16="http://schemas.microsoft.com/office/drawing/2014/main" id="{7A392633-BA81-B9C8-9F98-AF66F30B04B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Plassholder for notater 2">
            <a:extLst>
              <a:ext uri="{FF2B5EF4-FFF2-40B4-BE49-F238E27FC236}">
                <a16:creationId xmlns:a16="http://schemas.microsoft.com/office/drawing/2014/main" id="{47549E82-F4AC-DFA2-D55A-8696DEA453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/>
          </a:p>
        </p:txBody>
      </p:sp>
      <p:sp>
        <p:nvSpPr>
          <p:cNvPr id="53252" name="Plassholder for lysbildenummer 3">
            <a:extLst>
              <a:ext uri="{FF2B5EF4-FFF2-40B4-BE49-F238E27FC236}">
                <a16:creationId xmlns:a16="http://schemas.microsoft.com/office/drawing/2014/main" id="{F9796DC1-B2F6-4773-5D52-024AFAD372F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5B42E5A-FE72-4ED9-9F25-5BB8896295E9}" type="slidenum">
              <a:rPr lang="en-GB" altLang="en-US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GB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8550B8-F92F-6698-5383-F62C4658A4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phic 8">
            <a:extLst>
              <a:ext uri="{FF2B5EF4-FFF2-40B4-BE49-F238E27FC236}">
                <a16:creationId xmlns:a16="http://schemas.microsoft.com/office/drawing/2014/main" id="{97AA7C2F-0D9A-01D2-300C-72A2EC7B953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71475" y="404813"/>
            <a:ext cx="1954213" cy="73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5687" y="1569625"/>
            <a:ext cx="6840537" cy="194881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5688" y="4021678"/>
            <a:ext cx="5256212" cy="1948817"/>
          </a:xfrm>
        </p:spPr>
        <p:txBody>
          <a:bodyPr>
            <a:normAutofit/>
          </a:bodyPr>
          <a:lstStyle>
            <a:lvl1pPr marL="0" indent="0" algn="l">
              <a:buNone/>
              <a:defRPr sz="16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6" name="Footer Placeholder 6">
            <a:extLst>
              <a:ext uri="{FF2B5EF4-FFF2-40B4-BE49-F238E27FC236}">
                <a16:creationId xmlns:a16="http://schemas.microsoft.com/office/drawing/2014/main" id="{F2B03D12-EEC3-F26F-7654-920B0AB33A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1000"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333066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heading, chapter box, dark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FAAB1764-0BBA-ACAF-4C76-A060EB97567B}"/>
              </a:ext>
            </a:extLst>
          </p:cNvPr>
          <p:cNvPicPr/>
          <p:nvPr/>
        </p:nvPicPr>
        <p:blipFill>
          <a:blip r:embed="rId3" cstate="print"/>
          <a:srcRect/>
          <a:stretch/>
        </p:blipFill>
        <p:spPr>
          <a:xfrm>
            <a:off x="11022013" y="6348413"/>
            <a:ext cx="936625" cy="35242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C612C91-25B1-2A08-A6EC-5FB4689A8264}"/>
              </a:ext>
            </a:extLst>
          </p:cNvPr>
          <p:cNvSpPr/>
          <p:nvPr/>
        </p:nvSpPr>
        <p:spPr>
          <a:xfrm>
            <a:off x="0" y="0"/>
            <a:ext cx="3284538" cy="32861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0" y="0"/>
            <a:ext cx="3284378" cy="32861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 cap="all" spc="100" baseline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C49CE91C-7C3C-79DA-9627-8A708268A4F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025401F3-03AF-04A1-0A5D-1CC783BEAAD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3E2751-228E-4643-A401-F6F48ED9441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DC6A66-295C-B505-620F-604EFF01E9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2991" y="6411912"/>
            <a:ext cx="838519" cy="288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7D3436-D3ED-5276-A42C-B4AE1BEA67A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650" y="6411912"/>
            <a:ext cx="1354926" cy="2889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2096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6B9AF63E-C2BC-F2A1-E046-D0FC1E636677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pic>
        <p:nvPicPr>
          <p:cNvPr id="3" name="Picture 2" descr="A logo of a power company&#10;&#10;Description automatically generated">
            <a:extLst>
              <a:ext uri="{FF2B5EF4-FFF2-40B4-BE49-F238E27FC236}">
                <a16:creationId xmlns:a16="http://schemas.microsoft.com/office/drawing/2014/main" id="{AF6F85BF-1C2B-FBEB-C038-18BF8FA6DD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4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863756B0-3D37-34C8-3619-D37E08FFF47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88303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hapter box, heading,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960CBE37-C400-56A5-E23E-8D6D0782EAF9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274319" y="1133856"/>
            <a:ext cx="11650979" cy="507843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7107C299-EC42-AF7C-17B9-6C83756BAD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248799BA-751A-06FE-814E-22E0D60EE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9C286-9B7D-4EC4-886F-A971A22E27F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7" name="Picture 6" descr="A logo of a power company&#10;&#10;Description automatically generated">
            <a:extLst>
              <a:ext uri="{FF2B5EF4-FFF2-40B4-BE49-F238E27FC236}">
                <a16:creationId xmlns:a16="http://schemas.microsoft.com/office/drawing/2014/main" id="{F2E651C4-6A5F-E21C-A702-32434A49D73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8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99BD0AC5-ED50-3540-5A1E-B797CE9027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96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hapter box, 2 content boxes,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E812BA91-E856-6F53-F9CD-BB22B8F8E180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1" y="1133856"/>
            <a:ext cx="5821680" cy="5066919"/>
          </a:xfrm>
        </p:spPr>
        <p:txBody>
          <a:bodyPr/>
          <a:lstStyle>
            <a:lvl1pPr>
              <a:defRPr sz="1400" b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133856"/>
            <a:ext cx="5605779" cy="506691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1A849630-4C73-E51D-96BA-CB9EBD43D6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12">
            <a:extLst>
              <a:ext uri="{FF2B5EF4-FFF2-40B4-BE49-F238E27FC236}">
                <a16:creationId xmlns:a16="http://schemas.microsoft.com/office/drawing/2014/main" id="{B2B3C6F9-F432-07CD-00BC-05B2A0381A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B5B422-86DC-4D5C-BF0C-5CE6E87DC12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7" name="Picture 6" descr="A logo of a power company&#10;&#10;Description automatically generated">
            <a:extLst>
              <a:ext uri="{FF2B5EF4-FFF2-40B4-BE49-F238E27FC236}">
                <a16:creationId xmlns:a16="http://schemas.microsoft.com/office/drawing/2014/main" id="{CA3EF8CD-A44E-4C89-F726-4C3011FC1E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8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DA9EC4DB-70C1-462B-4203-8FA56E92D4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642696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, no chapt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74F5F61D-E0C0-DA8E-FFCC-059D5C0A55DB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274321" y="1133856"/>
            <a:ext cx="11650980" cy="507843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9A6C865C-E19C-D92D-1D42-B0ACD0A983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B27B6387-7747-3DA8-91E0-8C16E275EB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F641B3-98BF-423E-8805-8130C77CA0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6" name="Picture 5" descr="A logo of a power company&#10;&#10;Description automatically generated">
            <a:extLst>
              <a:ext uri="{FF2B5EF4-FFF2-40B4-BE49-F238E27FC236}">
                <a16:creationId xmlns:a16="http://schemas.microsoft.com/office/drawing/2014/main" id="{93150A2F-10E5-1757-D1EC-0F4B2E537AA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8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ADB2B0A7-ABD2-A188-6E49-27F685F6287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90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hapter box, heading, content, image,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47526428-6201-2351-4044-6FE87758B2F3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74321" y="1133856"/>
            <a:ext cx="6037580" cy="5066919"/>
          </a:xfrm>
        </p:spPr>
        <p:txBody>
          <a:bodyPr>
            <a:normAutofit/>
          </a:bodyPr>
          <a:lstStyle>
            <a:lvl1pPr>
              <a:defRPr sz="1400" b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Footer Placeholder 9">
            <a:extLst>
              <a:ext uri="{FF2B5EF4-FFF2-40B4-BE49-F238E27FC236}">
                <a16:creationId xmlns:a16="http://schemas.microsoft.com/office/drawing/2014/main" id="{9596222D-359D-CA96-CE2D-A7C3FD0B55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CE73EA45-A764-4A1E-A671-667ECBDFDB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8086EC-F4DC-4F0F-B9D1-735546A7925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6" name="Picture 5" descr="A logo of a power company&#10;&#10;Description automatically generated">
            <a:extLst>
              <a:ext uri="{FF2B5EF4-FFF2-40B4-BE49-F238E27FC236}">
                <a16:creationId xmlns:a16="http://schemas.microsoft.com/office/drawing/2014/main" id="{4F611467-6A34-5C2F-4187-E65680A024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7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135535FC-384B-5DB1-E843-CC4690E1A0A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83280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heading, no chapt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58EB602D-04CF-953D-1BC8-CA706334CD9B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lassholder for lysbildenummer 5">
            <a:extLst>
              <a:ext uri="{FF2B5EF4-FFF2-40B4-BE49-F238E27FC236}">
                <a16:creationId xmlns:a16="http://schemas.microsoft.com/office/drawing/2014/main" id="{B2ECEC93-7DE8-961B-FF84-5097BF1CE0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A2C37E-CCD3-4AFA-9FF9-FC1BB6966F1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C48911C-9DC9-E2F8-A6A1-01E6AEB228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5" name="Picture 4" descr="A logo of a power company&#10;&#10;Description automatically generated">
            <a:extLst>
              <a:ext uri="{FF2B5EF4-FFF2-40B4-BE49-F238E27FC236}">
                <a16:creationId xmlns:a16="http://schemas.microsoft.com/office/drawing/2014/main" id="{F9C7DB8E-09B5-CABF-28F4-5CDA934FC6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6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CB408188-0759-1C97-0AD1-30EA2028E8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08026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heading, no chapter box, dark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CBEC3618-3F65-CBF2-1132-D6C6FC88B14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/>
        </p:blipFill>
        <p:spPr>
          <a:xfrm>
            <a:off x="11022013" y="6348413"/>
            <a:ext cx="936625" cy="352425"/>
          </a:xfrm>
          <a:prstGeom prst="rect">
            <a:avLst/>
          </a:prstGeom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Slide Number Placeholder 8">
            <a:extLst>
              <a:ext uri="{FF2B5EF4-FFF2-40B4-BE49-F238E27FC236}">
                <a16:creationId xmlns:a16="http://schemas.microsoft.com/office/drawing/2014/main" id="{F4F62506-1AC6-9850-6947-126CA2B6BC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EE7EB-ED6E-4C4B-B92D-1C9D78F54F4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BD1556-5133-8CDA-AAED-646AD7FF44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4514" y="6411913"/>
            <a:ext cx="820091" cy="282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33A9FA-C21F-BDAB-A3EB-ECE0CE2873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7940" y="6428068"/>
            <a:ext cx="1279167" cy="2727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5448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as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88355C7F-61E3-6542-8A43-FCDF24DD2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8">
            <a:extLst>
              <a:ext uri="{FF2B5EF4-FFF2-40B4-BE49-F238E27FC236}">
                <a16:creationId xmlns:a16="http://schemas.microsoft.com/office/drawing/2014/main" id="{059C0807-8F2A-98B6-EED4-2BC187C88D3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71475" y="404813"/>
            <a:ext cx="1954213" cy="736600"/>
          </a:xfrm>
          <a:prstGeom prst="rect">
            <a:avLst/>
          </a:prstGeom>
        </p:spPr>
      </p:pic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71475" y="2519615"/>
            <a:ext cx="7524751" cy="9093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48560F-81EE-6A69-DEA2-F31BA2DB99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7331" y="578552"/>
            <a:ext cx="1633539" cy="56286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D3088B-C50C-674F-F733-9B1D8E3FD2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023" y="626017"/>
            <a:ext cx="2416973" cy="5153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622728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A8367-487B-245E-8A28-50C90B9481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9D9DD-7FB8-D977-B207-CF98F8E025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5EE47A-A753-A4C4-59E3-361624753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9109CE-BA77-BE78-3843-9256E63F6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3775BF-CE86-A630-DD78-F343644C5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21727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heading and chapt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A6D53AC-669F-4D42-30E4-4BE7B0AA29A3}"/>
              </a:ext>
            </a:extLst>
          </p:cNvPr>
          <p:cNvSpPr/>
          <p:nvPr/>
        </p:nvSpPr>
        <p:spPr>
          <a:xfrm>
            <a:off x="0" y="0"/>
            <a:ext cx="3284538" cy="328613"/>
          </a:xfrm>
          <a:prstGeom prst="rect">
            <a:avLst/>
          </a:prstGeom>
          <a:solidFill>
            <a:srgbClr val="1D35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Graphic 8">
            <a:extLst>
              <a:ext uri="{FF2B5EF4-FFF2-40B4-BE49-F238E27FC236}">
                <a16:creationId xmlns:a16="http://schemas.microsoft.com/office/drawing/2014/main" id="{C3EE565B-822B-F309-48A7-8AB6427484FE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0" y="0"/>
            <a:ext cx="3284378" cy="32861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 cap="all" spc="100" baseline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DFC2FCC8-BDC6-4572-9A34-C94ECCD8348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C5F148-36A6-40D6-8508-E3673B6B6A9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45BA25-9D04-6D07-8926-30C9C70D63F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4836784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59FDED-E318-2C50-9999-D93F21329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AA79DE-B450-C6BE-75F7-FC9129DDF4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8DF72C-7D5D-5E36-8D07-B41E68E5E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1A888-C8B5-0BEA-0783-FF8CEFA76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338E80-C290-6D67-F505-C3E6CCB72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7785873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686B4-4777-0C8A-F719-1E0F617CC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FE9DB4-6EC5-DB19-891E-649B5B3928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66A805-8154-BC62-1161-436E1C232E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6FEAC-A675-1225-C945-954B53D72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09DD60-DC4E-7102-33F5-9A054CC76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913693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9528B-0D9F-E88F-4F47-FF7F901AF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C5B30A-0775-37EB-9BBE-50DC46F7BC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5CFFF1-E12E-B7F3-69F4-CE6A1CB2D8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D5C52C-E526-118F-A769-6DF4E486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F0F7E4-179A-4037-5671-7E4B9CD1C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1AAA91-BAF1-F169-CE47-3C872382C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409929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6374C-997F-3670-12A8-11B324A096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8DC9D9-BC54-BC82-28F7-8E4B70F35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A59D44-FD6F-54D9-4FB1-CEB08C3624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FA228B-A714-7DE4-EBB1-19770FBCC4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E2FC6B-52AD-2827-1941-D5BF3783F6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ADD8B7-8BA3-5D54-24B0-52536D990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125B3D-1E1D-2DAB-E2D5-B3656605A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E40A778-0989-E65C-E901-C71BF4B3C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251213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2FF6C-9B0F-C556-22AA-05D7509C7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AC740A-6E53-DF1D-0879-3D5B401FFB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E663D4-AB03-E1FB-251A-D0BFD2E42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07D1E4-22CE-AA85-0A0A-2C9BEB9B8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004947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8C30FE-2B8E-1D40-37A8-60E90C23A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0B8010-A576-8370-4A32-6ED9EA02B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5EAA55-ED40-A363-2954-FC4F684A1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3732290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0E8E6-82F2-9F11-E7D7-D669B1097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334DB4-D3E6-131F-48B4-507FC34C81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103E7B-14CE-184D-C675-F786412024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A474AC-7948-DB9C-8570-293131384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29C358-C12A-7825-F5AC-DBE8F852E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017EE1-C2D5-4DCF-EE38-E9A465DA5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39819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9AD9A-00B0-17D3-6A16-15B3FE04A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809ADD4-74DB-DBF4-74C9-217AC2B57BE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D67409-FB57-9BE1-38E5-105E580CB0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19AB70-2567-E119-1DE8-3884D7C39B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325811-A3A8-24F3-DE0B-50D57A74B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27F208-AD2B-3323-B8E6-25A6B0A47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386989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F3ED5-9510-47A1-AD95-7DD1AB16A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94CE61-1C52-DFD0-E6B8-D16AF0AF92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5FF353-C7FA-3B7A-C8BD-86D0220B8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8609B1-2E7E-944E-3F5C-FCC99D0B1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80EC5-1035-9649-470C-6CC312288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669638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B2FF69-A034-732C-448B-2632AAAD57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23CDE1-2411-07A8-60B5-C88C3E265B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88000-6F02-13BC-755C-5526A48F4F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D4DB81-238E-AFF5-E609-55E435973A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149397-C564-89C3-0F7E-37906BE08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722811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as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88355C7F-61E3-6542-8A43-FCDF24DD2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8">
            <a:extLst>
              <a:ext uri="{FF2B5EF4-FFF2-40B4-BE49-F238E27FC236}">
                <a16:creationId xmlns:a16="http://schemas.microsoft.com/office/drawing/2014/main" id="{059C0807-8F2A-98B6-EED4-2BC187C88D3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71475" y="404813"/>
            <a:ext cx="1954213" cy="736600"/>
          </a:xfrm>
          <a:prstGeom prst="rect">
            <a:avLst/>
          </a:prstGeom>
        </p:spPr>
      </p:pic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71475" y="2519615"/>
            <a:ext cx="7524751" cy="9093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6227286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ext box, chapter box,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C0D5E9D-6960-ABF9-1200-5A38646FC7C7}"/>
              </a:ext>
            </a:extLst>
          </p:cNvPr>
          <p:cNvSpPr/>
          <p:nvPr/>
        </p:nvSpPr>
        <p:spPr>
          <a:xfrm>
            <a:off x="0" y="0"/>
            <a:ext cx="3284538" cy="328613"/>
          </a:xfrm>
          <a:prstGeom prst="rect">
            <a:avLst/>
          </a:prstGeom>
          <a:solidFill>
            <a:srgbClr val="1D35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5" name="Graphic 8">
            <a:extLst>
              <a:ext uri="{FF2B5EF4-FFF2-40B4-BE49-F238E27FC236}">
                <a16:creationId xmlns:a16="http://schemas.microsoft.com/office/drawing/2014/main" id="{FBA070E7-368C-38BA-6076-B6E3DC8CB92F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3" name="Content Placeholder 3"/>
          <p:cNvSpPr>
            <a:spLocks noGrp="1"/>
          </p:cNvSpPr>
          <p:nvPr>
            <p:ph sz="half" idx="2"/>
          </p:nvPr>
        </p:nvSpPr>
        <p:spPr>
          <a:xfrm>
            <a:off x="274319" y="1133856"/>
            <a:ext cx="11650981" cy="507843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0" y="0"/>
            <a:ext cx="3284378" cy="32861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 cap="all" spc="100" baseline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Footer Placeholder 9">
            <a:extLst>
              <a:ext uri="{FF2B5EF4-FFF2-40B4-BE49-F238E27FC236}">
                <a16:creationId xmlns:a16="http://schemas.microsoft.com/office/drawing/2014/main" id="{7FA4283C-A5EE-32FC-AC95-030DC8952BD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B838E14A-E37D-436F-B76A-28B56A2088A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4D2B80-1291-480D-84A4-44D02343EE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9" name="Picture 8" descr="A logo of a power company&#10;&#10;Description automatically generated">
            <a:extLst>
              <a:ext uri="{FF2B5EF4-FFF2-40B4-BE49-F238E27FC236}">
                <a16:creationId xmlns:a16="http://schemas.microsoft.com/office/drawing/2014/main" id="{1B01DE8C-54C8-164D-A98E-218C4FBA3F9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10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08C481CB-5E92-9601-AA0F-9846B3F459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824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4DFF1-E765-D60F-FE3B-8A0935E1EC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AB8919-2140-FDE2-6CB9-C8E86C8A90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B8F3C3-607E-3F4F-B831-9DE3E977C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91BC2-37A8-4E67-B5B1-B90AB3EFBEB1}" type="datetime1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783386-5250-9A77-08AA-77DD083E6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88097-0B88-5035-554B-A0CF10F98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DA167-2174-43E3-9F74-B225C080B0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02056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85285-E1ED-1244-8428-89AB6A7A5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091" y="554182"/>
            <a:ext cx="11582400" cy="4983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800"/>
            </a:lvl1pPr>
          </a:lstStyle>
          <a:p>
            <a:r>
              <a:rPr lang="en-GB" noProof="0"/>
              <a:t>Insert heading, maximum 1 lin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05EBEE7-E5E1-5446-858E-4F1061EBC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" y="1"/>
            <a:ext cx="2689934" cy="328612"/>
          </a:xfr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algn="ctr">
              <a:defRPr sz="1100" cap="all" spc="100" baseline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chapter title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1BA9FC8-5EBF-F142-AEB3-06A34A8F883A}" type="slidenum">
              <a:rPr lang="nb-NO"/>
              <a:pPr/>
              <a:t>‹#›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306416-36A2-0CEE-B93F-174D04CDD9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Meeting with Eksfin - Private and confidential</a:t>
            </a:r>
            <a:endParaRPr lang="nb-NO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25C19E6-965C-44D4-A6AD-2415F8D44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717099" y="6274210"/>
            <a:ext cx="1147438" cy="43225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 text box, chapter box, h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F921F1C-7B98-2DF1-A346-8D26F791AB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Presentation to BNP Paribas - private and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1B45141-CABF-A237-FD09-1E49AB460AC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1BA9FC8-5EBF-F142-AEB3-06A34A8F883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C304970-99B0-B09B-22B7-61F6D556CB3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3451" y="1334060"/>
            <a:ext cx="11757804" cy="4878226"/>
          </a:xfrm>
        </p:spPr>
        <p:txBody>
          <a:bodyPr anchor="t" anchorCtr="0"/>
          <a:lstStyle/>
          <a:p>
            <a:pPr lvl="0"/>
            <a:r>
              <a:rPr lang="en-US" noProof="0"/>
              <a:t> </a:t>
            </a:r>
            <a:endParaRPr lang="en-GB" noProof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C33F953-3D07-C859-4C6F-65E7EC046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744" y="530352"/>
            <a:ext cx="11757804" cy="3733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52125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_To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043BC01C-A34A-5D75-B54D-238A6F60AD60}"/>
              </a:ext>
            </a:extLst>
          </p:cNvPr>
          <p:cNvSpPr txBox="1">
            <a:spLocks/>
          </p:cNvSpPr>
          <p:nvPr userDrawn="1"/>
        </p:nvSpPr>
        <p:spPr>
          <a:xfrm>
            <a:off x="0" y="6570922"/>
            <a:ext cx="11770822" cy="287078"/>
          </a:xfrm>
          <a:prstGeom prst="rect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400" b="1">
                <a:solidFill>
                  <a:schemeClr val="bg1"/>
                </a:solidFill>
                <a:cs typeface="Arial" panose="020B0604020202020204" pitchFamily="34" charset="0"/>
              </a:rPr>
              <a:t>Source Galileo - Schedule 5 Presentation  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59F8FAE5-9D50-8BAA-C0D4-EB2D431A2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600556"/>
            <a:ext cx="487680" cy="225548"/>
          </a:xfrm>
        </p:spPr>
        <p:txBody>
          <a:bodyPr/>
          <a:lstStyle/>
          <a:p>
            <a:fld id="{AAF69810-250D-479D-8862-F6E368072D9A}" type="slidenum">
              <a:rPr lang="en-GB" b="1" smtClean="0">
                <a:solidFill>
                  <a:srgbClr val="8DC63F"/>
                </a:solidFill>
                <a:latin typeface="Meiryo" panose="020B0604030504040204" pitchFamily="34" charset="-128"/>
                <a:ea typeface="Meiryo" panose="020B0604030504040204" pitchFamily="34" charset="-128"/>
                <a:cs typeface="Aharoni" panose="02010803020104030203" pitchFamily="2" charset="-79"/>
              </a:rPr>
              <a:t>‹#›</a:t>
            </a:fld>
            <a:endParaRPr lang="en-GB" b="1">
              <a:solidFill>
                <a:srgbClr val="8DC63F"/>
              </a:solidFill>
              <a:latin typeface="Meiryo" panose="020B0604030504040204" pitchFamily="34" charset="-128"/>
              <a:ea typeface="Meiryo" panose="020B0604030504040204" pitchFamily="34" charset="-128"/>
              <a:cs typeface="Aharoni" panose="02010803020104030203" pitchFamily="2" charset="-79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F3EF3E-1A42-47DB-6455-BA41C023BC83}"/>
              </a:ext>
            </a:extLst>
          </p:cNvPr>
          <p:cNvCxnSpPr>
            <a:cxnSpLocks/>
          </p:cNvCxnSpPr>
          <p:nvPr userDrawn="1"/>
        </p:nvCxnSpPr>
        <p:spPr>
          <a:xfrm>
            <a:off x="0" y="672366"/>
            <a:ext cx="12192000" cy="0"/>
          </a:xfrm>
          <a:prstGeom prst="line">
            <a:avLst/>
          </a:prstGeom>
          <a:ln w="38100">
            <a:solidFill>
              <a:srgbClr val="A349A4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E5D989-2CEB-0A73-32E4-B45FCC1629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6531" y="885308"/>
            <a:ext cx="7200900" cy="36298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>
                <a:solidFill>
                  <a:srgbClr val="A349A4"/>
                </a:solidFill>
              </a:defRPr>
            </a:lvl1pPr>
            <a:lvl2pPr algn="l">
              <a:buClr>
                <a:srgbClr val="C61E5D"/>
              </a:buClr>
              <a:defRPr sz="2000"/>
            </a:lvl2pPr>
            <a:lvl3pPr algn="l">
              <a:buClr>
                <a:srgbClr val="C61E5D"/>
              </a:buClr>
              <a:defRPr sz="1800"/>
            </a:lvl3pPr>
            <a:lvl4pPr algn="l">
              <a:buClr>
                <a:srgbClr val="C61E5D"/>
              </a:buClr>
              <a:defRPr/>
            </a:lvl4pPr>
            <a:lvl5pPr algn="l">
              <a:buClr>
                <a:srgbClr val="C61E5D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5E07B39-3C3F-C99F-10C2-9EB0D0DDF1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06531" y="1260488"/>
            <a:ext cx="7200900" cy="501810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D4A4B4-B1FC-27F6-3699-CD2CF6C5E059}"/>
              </a:ext>
            </a:extLst>
          </p:cNvPr>
          <p:cNvSpPr txBox="1"/>
          <p:nvPr userDrawn="1"/>
        </p:nvSpPr>
        <p:spPr>
          <a:xfrm>
            <a:off x="0" y="0"/>
            <a:ext cx="10351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800" b="1">
              <a:solidFill>
                <a:srgbClr val="A349A4"/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3D0ABDB-0D0D-8D20-56D2-1AF3673231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776" y="106795"/>
            <a:ext cx="7200900" cy="36298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b="1">
                <a:solidFill>
                  <a:srgbClr val="A349A4"/>
                </a:solidFill>
              </a:defRPr>
            </a:lvl1pPr>
            <a:lvl2pPr algn="l">
              <a:buClr>
                <a:srgbClr val="C61E5D"/>
              </a:buClr>
              <a:defRPr sz="2000"/>
            </a:lvl2pPr>
            <a:lvl3pPr algn="l">
              <a:buClr>
                <a:srgbClr val="C61E5D"/>
              </a:buClr>
              <a:defRPr sz="1800"/>
            </a:lvl3pPr>
            <a:lvl4pPr algn="l">
              <a:buClr>
                <a:srgbClr val="C61E5D"/>
              </a:buClr>
              <a:defRPr/>
            </a:lvl4pPr>
            <a:lvl5pPr algn="l">
              <a:buClr>
                <a:srgbClr val="C61E5D"/>
              </a:buClr>
              <a:defRPr/>
            </a:lvl5pPr>
          </a:lstStyle>
          <a:p>
            <a:pPr lvl="0"/>
            <a:r>
              <a:rPr lang="en-US"/>
              <a:t>Topic 1 : “Click to edit”</a:t>
            </a:r>
          </a:p>
        </p:txBody>
      </p:sp>
      <p:pic>
        <p:nvPicPr>
          <p:cNvPr id="2050" name="Picture 3" descr="Icon&#10;&#10;Description automatically generated">
            <a:extLst>
              <a:ext uri="{FF2B5EF4-FFF2-40B4-BE49-F238E27FC236}">
                <a16:creationId xmlns:a16="http://schemas.microsoft.com/office/drawing/2014/main" id="{DA0DC505-49F4-CE0A-8E5F-BFFB5D90CA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5423" y="89382"/>
            <a:ext cx="129540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7638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85285-E1ED-1244-8428-89AB6A7A5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765175"/>
            <a:ext cx="11449048" cy="287338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r>
              <a:rPr lang="en-GB" noProof="0"/>
              <a:t>Insert heading, maximum 1 lin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05EBEE7-E5E1-5446-858E-4F1061EBC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" y="1"/>
            <a:ext cx="2689934" cy="328612"/>
          </a:xfrm>
          <a:solidFill>
            <a:schemeClr val="tx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100" cap="all" spc="100" baseline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chapter title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1BA9FC8-5EBF-F142-AEB3-06A34A8F883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306416-36A2-0CEE-B93F-174D04CDD9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SCM strategy - presentation to Source Galileo - Strictly confidentia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6A0F618-AE41-7333-19CD-7E104C2C5C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92588" y="6283012"/>
            <a:ext cx="927937" cy="34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2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">
    <p:bg>
      <p:bgPr>
        <a:blipFill dpi="0" rotWithShape="0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8">
            <a:extLst>
              <a:ext uri="{FF2B5EF4-FFF2-40B4-BE49-F238E27FC236}">
                <a16:creationId xmlns:a16="http://schemas.microsoft.com/office/drawing/2014/main" id="{97AA7C2F-0D9A-01D2-300C-72A2EC7B953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01315" y="5970495"/>
            <a:ext cx="1954213" cy="736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5687" y="1569625"/>
            <a:ext cx="6840537" cy="194881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5688" y="4021678"/>
            <a:ext cx="5256212" cy="1948817"/>
          </a:xfrm>
        </p:spPr>
        <p:txBody>
          <a:bodyPr>
            <a:normAutofit/>
          </a:bodyPr>
          <a:lstStyle>
            <a:lvl1pPr marL="0" indent="0" algn="l">
              <a:buNone/>
              <a:defRPr sz="16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945D66-5C11-374F-5C73-92DC120676A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037" y="6178769"/>
            <a:ext cx="1415704" cy="487803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81B376-F391-F5C7-8D9E-B84A2B076BB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187" y="6178769"/>
            <a:ext cx="2205190" cy="4702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933306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0">
          <a:blip r:embed="rId2">
            <a:alphaModFix amt="47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F81E8B10-E12C-CEBC-767D-22C877AB45A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/>
        </p:blipFill>
        <p:spPr>
          <a:xfrm>
            <a:off x="371475" y="404813"/>
            <a:ext cx="1954213" cy="7366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4"/>
          </p:nvPr>
        </p:nvSpPr>
        <p:spPr>
          <a:xfrm>
            <a:off x="931189" y="3152396"/>
            <a:ext cx="2997000" cy="1247526"/>
          </a:xfrm>
        </p:spPr>
        <p:txBody>
          <a:bodyPr anchor="ctr">
            <a:noAutofit/>
          </a:bodyPr>
          <a:lstStyle>
            <a:lvl1pPr marL="0" indent="0">
              <a:buNone/>
              <a:defRPr sz="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161453" y="1716134"/>
            <a:ext cx="6744156" cy="4120049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Plassholder for lysbildenummer 9">
            <a:extLst>
              <a:ext uri="{FF2B5EF4-FFF2-40B4-BE49-F238E27FC236}">
                <a16:creationId xmlns:a16="http://schemas.microsoft.com/office/drawing/2014/main" id="{C22BEDA2-89B4-EAB4-09BC-C50483EF1B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algn="l">
              <a:defRPr sz="10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8A7F680-45FB-4581-B6B2-D75A655EFF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940A82B5-D8F3-C003-EEAF-AB8D41D455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ctr">
              <a:defRPr sz="100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8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1DCC2DF9-5CA6-ACCD-39EB-DEDC57AED1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1865" y="540442"/>
            <a:ext cx="1448270" cy="482392"/>
          </a:xfrm>
          <a:prstGeom prst="rect">
            <a:avLst/>
          </a:prstGeom>
        </p:spPr>
      </p:pic>
      <p:pic>
        <p:nvPicPr>
          <p:cNvPr id="9" name="Picture 8" descr="File:Kansai Electric Power Company logo.svg - Wikipedia">
            <a:extLst>
              <a:ext uri="{FF2B5EF4-FFF2-40B4-BE49-F238E27FC236}">
                <a16:creationId xmlns:a16="http://schemas.microsoft.com/office/drawing/2014/main" id="{E2A51913-985B-EDA4-7B4C-F90C39A89AF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19375" y="540442"/>
            <a:ext cx="2479058" cy="482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63295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61364CAC-C477-0335-5F0B-F868508F7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8">
            <a:extLst>
              <a:ext uri="{FF2B5EF4-FFF2-40B4-BE49-F238E27FC236}">
                <a16:creationId xmlns:a16="http://schemas.microsoft.com/office/drawing/2014/main" id="{3F964DD6-858E-D6DA-4516-AD7C7928230B}"/>
              </a:ext>
            </a:extLst>
          </p:cNvPr>
          <p:cNvPicPr/>
          <p:nvPr/>
        </p:nvPicPr>
        <p:blipFill>
          <a:blip r:embed="rId3" cstate="print"/>
          <a:srcRect/>
          <a:stretch/>
        </p:blipFill>
        <p:spPr>
          <a:xfrm>
            <a:off x="10963275" y="6337300"/>
            <a:ext cx="995363" cy="3746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688" y="1964248"/>
            <a:ext cx="6840537" cy="12783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055687" y="3651005"/>
            <a:ext cx="6840537" cy="1120915"/>
          </a:xfrm>
        </p:spPr>
        <p:txBody>
          <a:bodyPr>
            <a:normAutofit/>
          </a:bodyPr>
          <a:lstStyle>
            <a:lvl1pPr marL="0" indent="0" algn="l">
              <a:buNone/>
              <a:defRPr sz="1600" cap="none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A75A8DF1-0D4E-129F-475C-0D3A684C8E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1000"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2204534D-4582-8EDD-27F2-D186FC8D79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638C3D0-5728-42B1-9DE3-97B3E600958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264C75-E135-79A8-C476-5980BE557D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2991" y="6411912"/>
            <a:ext cx="838519" cy="288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72E16C-F56F-9495-6A5E-151F6053EEE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650" y="6411912"/>
            <a:ext cx="1354926" cy="2889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8962683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content, image, chapt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4C93EBE-D450-CC54-981A-EA57DD11D1F1}"/>
              </a:ext>
            </a:extLst>
          </p:cNvPr>
          <p:cNvSpPr/>
          <p:nvPr/>
        </p:nvSpPr>
        <p:spPr>
          <a:xfrm>
            <a:off x="0" y="0"/>
            <a:ext cx="3284538" cy="328613"/>
          </a:xfrm>
          <a:prstGeom prst="rect">
            <a:avLst/>
          </a:prstGeom>
          <a:solidFill>
            <a:srgbClr val="1D35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Graphic 8">
            <a:extLst>
              <a:ext uri="{FF2B5EF4-FFF2-40B4-BE49-F238E27FC236}">
                <a16:creationId xmlns:a16="http://schemas.microsoft.com/office/drawing/2014/main" id="{49438445-A577-0A53-0618-50B75B2BF0B2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74320" y="1133856"/>
            <a:ext cx="6045200" cy="5066919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0" y="0"/>
            <a:ext cx="3284378" cy="32861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 cap="all" spc="100" baseline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ooter Placeholder 9">
            <a:extLst>
              <a:ext uri="{FF2B5EF4-FFF2-40B4-BE49-F238E27FC236}">
                <a16:creationId xmlns:a16="http://schemas.microsoft.com/office/drawing/2014/main" id="{27397A97-83C9-1E6F-6FC2-DD9414B2A3B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id="{7E488373-0534-31E1-6241-D8C26ECAF74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BDD4EF-C761-42BA-B9FE-7169157E94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8" name="Picture 7" descr="A logo of a power company&#10;&#10;Description automatically generated">
            <a:extLst>
              <a:ext uri="{FF2B5EF4-FFF2-40B4-BE49-F238E27FC236}">
                <a16:creationId xmlns:a16="http://schemas.microsoft.com/office/drawing/2014/main" id="{C9880CF6-2894-7C1C-EA12-EE1AD1F981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9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4E3B96E1-691B-19A4-2722-9677ADE854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911183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heading and chapt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A6D53AC-669F-4D42-30E4-4BE7B0AA29A3}"/>
              </a:ext>
            </a:extLst>
          </p:cNvPr>
          <p:cNvSpPr/>
          <p:nvPr/>
        </p:nvSpPr>
        <p:spPr>
          <a:xfrm>
            <a:off x="0" y="0"/>
            <a:ext cx="3284538" cy="328613"/>
          </a:xfrm>
          <a:prstGeom prst="rect">
            <a:avLst/>
          </a:prstGeom>
          <a:solidFill>
            <a:srgbClr val="1D35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Graphic 8">
            <a:extLst>
              <a:ext uri="{FF2B5EF4-FFF2-40B4-BE49-F238E27FC236}">
                <a16:creationId xmlns:a16="http://schemas.microsoft.com/office/drawing/2014/main" id="{C3EE565B-822B-F309-48A7-8AB6427484FE}"/>
              </a:ext>
            </a:extLst>
          </p:cNvPr>
          <p:cNvPicPr/>
          <p:nvPr/>
        </p:nvPicPr>
        <p:blipFill>
          <a:blip r:embed="rId2" cstate="print"/>
          <a:srcRect/>
          <a:stretch/>
        </p:blipFill>
        <p:spPr>
          <a:xfrm>
            <a:off x="10966450" y="6337300"/>
            <a:ext cx="992188" cy="37465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0" y="0"/>
            <a:ext cx="3284378" cy="32861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 cap="all" spc="100" baseline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74320" y="530351"/>
            <a:ext cx="11643360" cy="4628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DFC2FCC8-BDC6-4572-9A34-C94ECCD8348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C5F148-36A6-40D6-8508-E3673B6B6A9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45BA25-9D04-6D07-8926-30C9C70D63F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7" name="Picture 6" descr="A logo of a power company&#10;&#10;Description automatically generated">
            <a:extLst>
              <a:ext uri="{FF2B5EF4-FFF2-40B4-BE49-F238E27FC236}">
                <a16:creationId xmlns:a16="http://schemas.microsoft.com/office/drawing/2014/main" id="{4A0F02C4-6546-8237-3811-8B2899331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12727" y="6348232"/>
            <a:ext cx="1335360" cy="377318"/>
          </a:xfrm>
          <a:prstGeom prst="rect">
            <a:avLst/>
          </a:prstGeom>
        </p:spPr>
      </p:pic>
      <p:pic>
        <p:nvPicPr>
          <p:cNvPr id="8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27CD780B-0F6D-F4B2-DE97-3A44CD1C7A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548" y="6322137"/>
            <a:ext cx="1091979" cy="363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836784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 hidden="1">
            <a:extLst>
              <a:ext uri="{FF2B5EF4-FFF2-40B4-BE49-F238E27FC236}">
                <a16:creationId xmlns:a16="http://schemas.microsoft.com/office/drawing/2014/main" id="{F54BD4B4-A1EA-2F83-FA83-C71C904E0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63E43F95-5B31-41CD-BC47-6653F28B652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4638" y="530225"/>
            <a:ext cx="1164272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altLang="en-US"/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5CD580D4-33AF-FE2D-9AB9-27D4EFC5B48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1130300"/>
            <a:ext cx="11642725" cy="507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altLang="en-US"/>
          </a:p>
        </p:txBody>
      </p:sp>
      <p:pic>
        <p:nvPicPr>
          <p:cNvPr id="1029" name="Picture 4" hidden="1">
            <a:extLst>
              <a:ext uri="{FF2B5EF4-FFF2-40B4-BE49-F238E27FC236}">
                <a16:creationId xmlns:a16="http://schemas.microsoft.com/office/drawing/2014/main" id="{71E60646-A88A-73B0-E6BF-0E4679275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lassholder for lysbildenummer 9">
            <a:extLst>
              <a:ext uri="{FF2B5EF4-FFF2-40B4-BE49-F238E27FC236}">
                <a16:creationId xmlns:a16="http://schemas.microsoft.com/office/drawing/2014/main" id="{C8B2D1B9-49F6-A0D2-108D-5FFE8723FE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3363" y="6411913"/>
            <a:ext cx="603250" cy="225425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5743F1C-9672-4D56-9F3A-903EA696962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0C20FAC-05ED-D9FF-9706-4890BADFB1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19375" y="6411913"/>
            <a:ext cx="6953250" cy="225425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5" r:id="rId2"/>
    <p:sldLayoutId id="2147484084" r:id="rId3"/>
    <p:sldLayoutId id="2147483808" r:id="rId4"/>
    <p:sldLayoutId id="2147483790" r:id="rId5"/>
    <p:sldLayoutId id="2147483791" r:id="rId6"/>
    <p:sldLayoutId id="2147483792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</p:sldLayoutIdLst>
  <p:transition spd="med"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225425" indent="-225425" algn="l" rtl="0" eaLnBrk="1" fontAlgn="base" hangingPunct="1">
        <a:spcBef>
          <a:spcPct val="0"/>
        </a:spcBef>
        <a:spcAft>
          <a:spcPts val="600"/>
        </a:spcAft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Roboto" panose="02000000000000000000" pitchFamily="2" charset="0"/>
          <a:cs typeface="Roboto" panose="02000000000000000000" pitchFamily="2" charset="0"/>
        </a:defRPr>
      </a:lvl1pPr>
      <a:lvl2pPr marL="712788" indent="-261938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System Font Regular"/>
        <a:buChar char="–"/>
        <a:defRPr sz="1300" kern="1200">
          <a:solidFill>
            <a:schemeClr val="tx2"/>
          </a:solidFill>
          <a:latin typeface="+mn-lt"/>
          <a:ea typeface="Roboto" panose="02000000000000000000" pitchFamily="2" charset="0"/>
          <a:cs typeface="Roboto" panose="02000000000000000000" pitchFamily="2" charset="0"/>
        </a:defRPr>
      </a:lvl2pPr>
      <a:lvl3pPr marL="1155700" indent="-217488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 typeface="Courier New" panose="02070309020205020404" pitchFamily="49" charset="0"/>
        <a:buChar char="o"/>
        <a:defRPr sz="1300" kern="1200">
          <a:solidFill>
            <a:schemeClr val="tx2"/>
          </a:solidFill>
          <a:latin typeface="+mn-lt"/>
          <a:ea typeface="Roboto" panose="02000000000000000000" pitchFamily="2" charset="0"/>
          <a:cs typeface="Roboto" panose="02000000000000000000" pitchFamily="2" charset="0"/>
        </a:defRPr>
      </a:lvl3pPr>
      <a:lvl4pPr marL="1600200" indent="-217488" algn="l" rtl="0" eaLnBrk="1" fontAlgn="base" hangingPunct="1">
        <a:spcBef>
          <a:spcPct val="0"/>
        </a:spcBef>
        <a:spcAft>
          <a:spcPts val="600"/>
        </a:spcAft>
        <a:buFont typeface="Wingdings" panose="05000000000000000000" pitchFamily="2" charset="2"/>
        <a:buChar char="§"/>
        <a:defRPr sz="1300" kern="1200">
          <a:solidFill>
            <a:schemeClr val="tx2"/>
          </a:solidFill>
          <a:latin typeface="+mn-lt"/>
          <a:ea typeface="Roboto" panose="02000000000000000000" pitchFamily="2" charset="0"/>
          <a:cs typeface="Roboto" panose="02000000000000000000" pitchFamily="2" charset="0"/>
        </a:defRPr>
      </a:lvl4pPr>
      <a:lvl5pPr marL="2052638" indent="-227013" algn="l" rtl="0" eaLnBrk="1" fontAlgn="base" hangingPunct="1">
        <a:spcBef>
          <a:spcPct val="0"/>
        </a:spcBef>
        <a:spcAft>
          <a:spcPts val="600"/>
        </a:spcAft>
        <a:buFont typeface="System Font Regular"/>
        <a:buChar char="–"/>
        <a:defRPr sz="1300" kern="1200">
          <a:solidFill>
            <a:schemeClr val="tx2"/>
          </a:solidFill>
          <a:latin typeface="+mn-lt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C75EE3-873C-83EE-4B92-435335D53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D912E-0FDE-5435-6EBE-BE9CD20B08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66A59-5096-0005-B2F3-0B1BCC6AF9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B90528-7705-4A73-BC08-46395C66246D}" type="datetimeFigureOut">
              <a:rPr lang="en-IE" smtClean="0"/>
              <a:t>23/11/2023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96BE9E-405D-A800-84D1-E3EB62C298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02603E-7D25-DA89-CD3D-9B92159AB0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BE44F5-3D60-4E6E-8548-74436FEED6FF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34736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4083" r:id="rId5"/>
    <p:sldLayoutId id="2147484088" r:id="rId6"/>
    <p:sldLayoutId id="2147484089" r:id="rId7"/>
    <p:sldLayoutId id="2147483818" r:id="rId8"/>
    <p:sldLayoutId id="2147483819" r:id="rId9"/>
    <p:sldLayoutId id="2147483820" r:id="rId10"/>
    <p:sldLayoutId id="2147483821" r:id="rId11"/>
    <p:sldLayoutId id="214748382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EA5FD3B-7632-9629-70FE-D4851533D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E13D28-DF94-7412-05DA-2B2F653F13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77E61C-CE3A-6A6F-41E7-B1FADA57E2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77159B-0F2C-4200-BF63-FD50F87350DA}" type="datetime1">
              <a:rPr lang="en-GB" smtClean="0"/>
              <a:t>23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767ACF-D88A-D375-7C76-D3A137C6E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32D09D-0255-336E-95C7-654B539AC2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3DA167-2174-43E3-9F74-B225C080B0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4448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4F56DA89-FC37-0243-B977-EEE3BCC82CE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56AAC5-BA44-8346-A7AC-D079A27BD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455" y="581891"/>
            <a:ext cx="11397672" cy="47062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 noProof="0"/>
              <a:t>Insert heading, maximum 1 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6E034D-F132-A74F-8381-4A19681E1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9454" y="1412875"/>
            <a:ext cx="11397672" cy="47879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Insert content. Text formatting: Click «Indent More» to apply bullets or numbers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6" name="Picture 4" hidden="1">
            <a:extLst>
              <a:ext uri="{FF2B5EF4-FFF2-40B4-BE49-F238E27FC236}">
                <a16:creationId xmlns:a16="http://schemas.microsoft.com/office/drawing/2014/main" id="{4F56DA89-FC37-0243-B977-EEE3BCC82C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Plassholder for lysbildenummer 9"/>
          <p:cNvSpPr>
            <a:spLocks noGrp="1"/>
          </p:cNvSpPr>
          <p:nvPr>
            <p:ph type="sldNum" sz="quarter" idx="4"/>
          </p:nvPr>
        </p:nvSpPr>
        <p:spPr>
          <a:xfrm>
            <a:off x="696914" y="6411330"/>
            <a:ext cx="602498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1BA9FC8-5EBF-F142-AEB3-06A34A8F883A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C331E4D-6379-D181-D691-936F85EAF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18913" y="6411330"/>
            <a:ext cx="6954174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eeting with Eksfin - 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92040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300" kern="1200">
          <a:solidFill>
            <a:schemeClr val="tx2"/>
          </a:solidFill>
          <a:latin typeface="+mn-lt"/>
          <a:ea typeface="Roboto" panose="02000000000000000000" pitchFamily="2" charset="0"/>
          <a:cs typeface="+mn-cs"/>
        </a:defRPr>
      </a:lvl1pPr>
      <a:lvl2pPr marL="271463" indent="-2635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SzPct val="120000"/>
        <a:buFont typeface="Arial" panose="020B0604020202020204" pitchFamily="34" charset="0"/>
        <a:buChar char="•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577850" indent="-306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stem Font Regular"/>
        <a:buChar char="–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3pPr>
      <a:lvl4pPr marL="271463" indent="-2635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577850" indent="-306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lphaLcPeriod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55">
          <p15:clr>
            <a:srgbClr val="F26B43"/>
          </p15:clr>
        </p15:guide>
        <p15:guide id="4" orient="horz" pos="3748">
          <p15:clr>
            <a:srgbClr val="F26B43"/>
          </p15:clr>
        </p15:guide>
        <p15:guide id="24" pos="438" userDrawn="1">
          <p15:clr>
            <a:srgbClr val="F26B43"/>
          </p15:clr>
        </p15:guide>
        <p15:guide id="25" orient="horz" pos="482" userDrawn="1">
          <p15:clr>
            <a:srgbClr val="F26B43"/>
          </p15:clr>
        </p15:guide>
        <p15:guide id="26" pos="7242" userDrawn="1">
          <p15:clr>
            <a:srgbClr val="F26B43"/>
          </p15:clr>
        </p15:guide>
        <p15:guide id="27" orient="horz" pos="3906" userDrawn="1">
          <p15:clr>
            <a:srgbClr val="F26B43"/>
          </p15:clr>
        </p15:guide>
        <p15:guide id="28" orient="horz" pos="1162" userDrawn="1">
          <p15:clr>
            <a:srgbClr val="F26B43"/>
          </p15:clr>
        </p15:guide>
        <p15:guide id="29" pos="3840" userDrawn="1">
          <p15:clr>
            <a:srgbClr val="F26B43"/>
          </p15:clr>
        </p15:guide>
        <p15:guide id="30" pos="3976" userDrawn="1">
          <p15:clr>
            <a:srgbClr val="F26B43"/>
          </p15:clr>
        </p15:guide>
        <p15:guide id="31" pos="3704" userDrawn="1">
          <p15:clr>
            <a:srgbClr val="F26B43"/>
          </p15:clr>
        </p15:guide>
        <p15:guide id="32" orient="horz" pos="890" userDrawn="1">
          <p15:clr>
            <a:srgbClr val="F26B43"/>
          </p15:clr>
        </p15:guide>
        <p15:guide id="33" orient="horz" pos="4178" userDrawn="1">
          <p15:clr>
            <a:srgbClr val="F26B43"/>
          </p15:clr>
        </p15:guide>
        <p15:guide id="34" orient="horz" pos="663" userDrawn="1">
          <p15:clr>
            <a:srgbClr val="F26B43"/>
          </p15:clr>
        </p15:guide>
        <p15:guide id="35" orient="horz" pos="2160" userDrawn="1">
          <p15:clr>
            <a:srgbClr val="F26B43"/>
          </p15:clr>
        </p15:guide>
        <p15:guide id="36" pos="4702" userDrawn="1">
          <p15:clr>
            <a:srgbClr val="F26B43"/>
          </p15:clr>
        </p15:guide>
        <p15:guide id="37" pos="2978" userDrawn="1">
          <p15:clr>
            <a:srgbClr val="F26B43"/>
          </p15:clr>
        </p15:guide>
        <p15:guide id="38" orient="horz" pos="1911" userDrawn="1">
          <p15:clr>
            <a:srgbClr val="F26B43"/>
          </p15:clr>
        </p15:guide>
        <p15:guide id="39" orient="horz" pos="1298" userDrawn="1">
          <p15:clr>
            <a:srgbClr val="F26B43"/>
          </p15:clr>
        </p15:guide>
        <p15:guide id="40" pos="4974" userDrawn="1">
          <p15:clr>
            <a:srgbClr val="F26B43"/>
          </p15:clr>
        </p15:guide>
        <p15:guide id="41" pos="2706" userDrawn="1">
          <p15:clr>
            <a:srgbClr val="F26B43"/>
          </p15:clr>
        </p15:guide>
        <p15:guide id="42" orient="horz" pos="3430" userDrawn="1">
          <p15:clr>
            <a:srgbClr val="F26B43"/>
          </p15:clr>
        </p15:guide>
        <p15:guide id="43" pos="892" userDrawn="1">
          <p15:clr>
            <a:srgbClr val="F26B43"/>
          </p15:clr>
        </p15:guide>
        <p15:guide id="44" pos="6380" userDrawn="1">
          <p15:clr>
            <a:srgbClr val="F26B43"/>
          </p15:clr>
        </p15:guide>
        <p15:guide id="45" pos="6788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CA3C7E7-F22A-AE5A-E588-487600C0EA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4CA3C7E7-F22A-AE5A-E588-487600C0E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B5744B7-E15C-22C7-D5FE-19BF42B2A5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65714" y="6337672"/>
            <a:ext cx="993115" cy="373905"/>
          </a:xfrm>
          <a:prstGeom prst="rect">
            <a:avLst/>
          </a:prstGeom>
        </p:spPr>
      </p:pic>
      <p:pic>
        <p:nvPicPr>
          <p:cNvPr id="5" name="Picture 4" hidden="1">
            <a:extLst>
              <a:ext uri="{FF2B5EF4-FFF2-40B4-BE49-F238E27FC236}">
                <a16:creationId xmlns:a16="http://schemas.microsoft.com/office/drawing/2014/main" id="{4F56DA89-FC37-0243-B977-EEE3BCC82CE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56AAC5-BA44-8346-A7AC-D079A27BD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744" y="530352"/>
            <a:ext cx="11757804" cy="3733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6E034D-F132-A74F-8381-4A19681E1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7744" y="1130060"/>
            <a:ext cx="11757804" cy="5070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en-GB" noProof="0"/>
          </a:p>
        </p:txBody>
      </p:sp>
      <p:pic>
        <p:nvPicPr>
          <p:cNvPr id="6" name="Picture 4" hidden="1">
            <a:extLst>
              <a:ext uri="{FF2B5EF4-FFF2-40B4-BE49-F238E27FC236}">
                <a16:creationId xmlns:a16="http://schemas.microsoft.com/office/drawing/2014/main" id="{4F56DA89-FC37-0243-B977-EEE3BCC82C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Plassholder for lysbildenummer 9"/>
          <p:cNvSpPr>
            <a:spLocks noGrp="1"/>
          </p:cNvSpPr>
          <p:nvPr>
            <p:ph type="sldNum" sz="quarter" idx="4"/>
          </p:nvPr>
        </p:nvSpPr>
        <p:spPr>
          <a:xfrm>
            <a:off x="233452" y="6411330"/>
            <a:ext cx="602498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1BA9FC8-5EBF-F142-AEB3-06A34A8F883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C331E4D-6379-D181-D691-936F85EAF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18913" y="6426718"/>
            <a:ext cx="6954174" cy="195814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o BNP Paribas - 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23303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5425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000" kern="1200">
          <a:solidFill>
            <a:schemeClr val="tx2"/>
          </a:solidFill>
          <a:latin typeface="+mn-lt"/>
          <a:ea typeface="Roboto" panose="02000000000000000000" pitchFamily="2" charset="0"/>
          <a:cs typeface="+mn-cs"/>
        </a:defRPr>
      </a:lvl1pPr>
      <a:lvl2pPr marL="712788" indent="-26193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System Font Regular"/>
        <a:buChar char="–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1155700" indent="-2174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Courier New" panose="02070309020205020404" pitchFamily="49" charset="0"/>
        <a:buChar char="o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174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itchFamily="2" charset="2"/>
        <a:buChar char="§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2052638" indent="-2270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55">
          <p15:clr>
            <a:srgbClr val="F26B43"/>
          </p15:clr>
        </p15:guide>
        <p15:guide id="4" orient="horz" pos="3748">
          <p15:clr>
            <a:srgbClr val="F26B43"/>
          </p15:clr>
        </p15:guide>
        <p15:guide id="25" orient="horz" pos="482">
          <p15:clr>
            <a:srgbClr val="F26B43"/>
          </p15:clr>
        </p15:guide>
        <p15:guide id="27" orient="horz" pos="3952">
          <p15:clr>
            <a:srgbClr val="F26B43"/>
          </p15:clr>
        </p15:guide>
        <p15:guide id="28" orient="horz" pos="1162">
          <p15:clr>
            <a:srgbClr val="F26B43"/>
          </p15:clr>
        </p15:guide>
        <p15:guide id="29" pos="3840">
          <p15:clr>
            <a:srgbClr val="F26B43"/>
          </p15:clr>
        </p15:guide>
        <p15:guide id="30" pos="3976">
          <p15:clr>
            <a:srgbClr val="F26B43"/>
          </p15:clr>
        </p15:guide>
        <p15:guide id="31" pos="3704">
          <p15:clr>
            <a:srgbClr val="F26B43"/>
          </p15:clr>
        </p15:guide>
        <p15:guide id="32" orient="horz" pos="890">
          <p15:clr>
            <a:srgbClr val="F26B43"/>
          </p15:clr>
        </p15:guide>
        <p15:guide id="33" orient="horz" pos="4178">
          <p15:clr>
            <a:srgbClr val="F26B43"/>
          </p15:clr>
        </p15:guide>
        <p15:guide id="34" orient="horz" pos="663">
          <p15:clr>
            <a:srgbClr val="F26B43"/>
          </p15:clr>
        </p15:guide>
        <p15:guide id="35" orient="horz" pos="2160">
          <p15:clr>
            <a:srgbClr val="F26B43"/>
          </p15:clr>
        </p15:guide>
        <p15:guide id="36" pos="4702">
          <p15:clr>
            <a:srgbClr val="F26B43"/>
          </p15:clr>
        </p15:guide>
        <p15:guide id="37" pos="2978">
          <p15:clr>
            <a:srgbClr val="F26B43"/>
          </p15:clr>
        </p15:guide>
        <p15:guide id="38" orient="horz" pos="1911">
          <p15:clr>
            <a:srgbClr val="F26B43"/>
          </p15:clr>
        </p15:guide>
        <p15:guide id="39" orient="horz" pos="1298">
          <p15:clr>
            <a:srgbClr val="F26B43"/>
          </p15:clr>
        </p15:guide>
        <p15:guide id="40" pos="4974">
          <p15:clr>
            <a:srgbClr val="F26B43"/>
          </p15:clr>
        </p15:guide>
        <p15:guide id="41" pos="2706">
          <p15:clr>
            <a:srgbClr val="F26B43"/>
          </p15:clr>
        </p15:guide>
        <p15:guide id="42" orient="horz" pos="3430">
          <p15:clr>
            <a:srgbClr val="F26B43"/>
          </p15:clr>
        </p15:guide>
        <p15:guide id="43" pos="665">
          <p15:clr>
            <a:srgbClr val="F26B43"/>
          </p15:clr>
        </p15:guide>
        <p15:guide id="44" pos="6380">
          <p15:clr>
            <a:srgbClr val="F26B43"/>
          </p15:clr>
        </p15:guide>
        <p15:guide id="45" pos="7015">
          <p15:clr>
            <a:srgbClr val="F26B43"/>
          </p15:clr>
        </p15:guide>
        <p15:guide id="46" pos="234">
          <p15:clr>
            <a:srgbClr val="F26B43"/>
          </p15:clr>
        </p15:guide>
        <p15:guide id="47" pos="7446">
          <p15:clr>
            <a:srgbClr val="F26B43"/>
          </p15:clr>
        </p15:guide>
        <p15:guide id="48" pos="685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C0C377-DECC-8D1B-A51D-6AD2FCF296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C0C377-DECC-8D1B-A51D-6AD2FCF29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2AE281-7592-1391-EECF-0BC2DE5A1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A814E8-1102-1D56-92CC-7A98C559F7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DE5776-AB60-2D95-2207-D6EA55DC2E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F69810-250D-479D-8862-F6E368072D9A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956559CF-1590-68EF-ED81-9D5032AC6A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5423" y="89382"/>
            <a:ext cx="129540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106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3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22.xml"/><Relationship Id="rId21" Type="http://schemas.openxmlformats.org/officeDocument/2006/relationships/tags" Target="../tags/tag26.xml"/><Relationship Id="rId42" Type="http://schemas.openxmlformats.org/officeDocument/2006/relationships/tags" Target="../tags/tag47.xml"/><Relationship Id="rId63" Type="http://schemas.openxmlformats.org/officeDocument/2006/relationships/tags" Target="../tags/tag68.xml"/><Relationship Id="rId84" Type="http://schemas.openxmlformats.org/officeDocument/2006/relationships/tags" Target="../tags/tag89.xml"/><Relationship Id="rId138" Type="http://schemas.openxmlformats.org/officeDocument/2006/relationships/tags" Target="../tags/tag143.xml"/><Relationship Id="rId159" Type="http://schemas.openxmlformats.org/officeDocument/2006/relationships/tags" Target="../tags/tag164.xml"/><Relationship Id="rId170" Type="http://schemas.openxmlformats.org/officeDocument/2006/relationships/tags" Target="../tags/tag175.xml"/><Relationship Id="rId107" Type="http://schemas.openxmlformats.org/officeDocument/2006/relationships/tags" Target="../tags/tag112.xml"/><Relationship Id="rId11" Type="http://schemas.openxmlformats.org/officeDocument/2006/relationships/tags" Target="../tags/tag16.xml"/><Relationship Id="rId32" Type="http://schemas.openxmlformats.org/officeDocument/2006/relationships/tags" Target="../tags/tag37.xml"/><Relationship Id="rId53" Type="http://schemas.openxmlformats.org/officeDocument/2006/relationships/tags" Target="../tags/tag58.xml"/><Relationship Id="rId74" Type="http://schemas.openxmlformats.org/officeDocument/2006/relationships/tags" Target="../tags/tag79.xml"/><Relationship Id="rId128" Type="http://schemas.openxmlformats.org/officeDocument/2006/relationships/tags" Target="../tags/tag133.xml"/><Relationship Id="rId149" Type="http://schemas.openxmlformats.org/officeDocument/2006/relationships/tags" Target="../tags/tag154.xml"/><Relationship Id="rId5" Type="http://schemas.openxmlformats.org/officeDocument/2006/relationships/tags" Target="../tags/tag10.xml"/><Relationship Id="rId95" Type="http://schemas.openxmlformats.org/officeDocument/2006/relationships/tags" Target="../tags/tag100.xml"/><Relationship Id="rId160" Type="http://schemas.openxmlformats.org/officeDocument/2006/relationships/tags" Target="../tags/tag165.xml"/><Relationship Id="rId181" Type="http://schemas.openxmlformats.org/officeDocument/2006/relationships/tags" Target="../tags/tag186.xml"/><Relationship Id="rId22" Type="http://schemas.openxmlformats.org/officeDocument/2006/relationships/tags" Target="../tags/tag27.xml"/><Relationship Id="rId43" Type="http://schemas.openxmlformats.org/officeDocument/2006/relationships/tags" Target="../tags/tag48.xml"/><Relationship Id="rId64" Type="http://schemas.openxmlformats.org/officeDocument/2006/relationships/tags" Target="../tags/tag69.xml"/><Relationship Id="rId118" Type="http://schemas.openxmlformats.org/officeDocument/2006/relationships/tags" Target="../tags/tag123.xml"/><Relationship Id="rId139" Type="http://schemas.openxmlformats.org/officeDocument/2006/relationships/tags" Target="../tags/tag144.xml"/><Relationship Id="rId85" Type="http://schemas.openxmlformats.org/officeDocument/2006/relationships/tags" Target="../tags/tag90.xml"/><Relationship Id="rId150" Type="http://schemas.openxmlformats.org/officeDocument/2006/relationships/tags" Target="../tags/tag155.xml"/><Relationship Id="rId171" Type="http://schemas.openxmlformats.org/officeDocument/2006/relationships/tags" Target="../tags/tag176.xml"/><Relationship Id="rId12" Type="http://schemas.openxmlformats.org/officeDocument/2006/relationships/tags" Target="../tags/tag17.xml"/><Relationship Id="rId33" Type="http://schemas.openxmlformats.org/officeDocument/2006/relationships/tags" Target="../tags/tag38.xml"/><Relationship Id="rId108" Type="http://schemas.openxmlformats.org/officeDocument/2006/relationships/tags" Target="../tags/tag113.xml"/><Relationship Id="rId129" Type="http://schemas.openxmlformats.org/officeDocument/2006/relationships/tags" Target="../tags/tag134.xml"/><Relationship Id="rId54" Type="http://schemas.openxmlformats.org/officeDocument/2006/relationships/tags" Target="../tags/tag59.xml"/><Relationship Id="rId75" Type="http://schemas.openxmlformats.org/officeDocument/2006/relationships/tags" Target="../tags/tag80.xml"/><Relationship Id="rId96" Type="http://schemas.openxmlformats.org/officeDocument/2006/relationships/tags" Target="../tags/tag101.xml"/><Relationship Id="rId140" Type="http://schemas.openxmlformats.org/officeDocument/2006/relationships/tags" Target="../tags/tag145.xml"/><Relationship Id="rId161" Type="http://schemas.openxmlformats.org/officeDocument/2006/relationships/tags" Target="../tags/tag166.xml"/><Relationship Id="rId182" Type="http://schemas.openxmlformats.org/officeDocument/2006/relationships/tags" Target="../tags/tag187.xml"/><Relationship Id="rId6" Type="http://schemas.openxmlformats.org/officeDocument/2006/relationships/tags" Target="../tags/tag11.xml"/><Relationship Id="rId23" Type="http://schemas.openxmlformats.org/officeDocument/2006/relationships/tags" Target="../tags/tag28.xml"/><Relationship Id="rId119" Type="http://schemas.openxmlformats.org/officeDocument/2006/relationships/tags" Target="../tags/tag124.xml"/><Relationship Id="rId44" Type="http://schemas.openxmlformats.org/officeDocument/2006/relationships/tags" Target="../tags/tag49.xml"/><Relationship Id="rId65" Type="http://schemas.openxmlformats.org/officeDocument/2006/relationships/tags" Target="../tags/tag70.xml"/><Relationship Id="rId86" Type="http://schemas.openxmlformats.org/officeDocument/2006/relationships/tags" Target="../tags/tag91.xml"/><Relationship Id="rId130" Type="http://schemas.openxmlformats.org/officeDocument/2006/relationships/tags" Target="../tags/tag135.xml"/><Relationship Id="rId151" Type="http://schemas.openxmlformats.org/officeDocument/2006/relationships/tags" Target="../tags/tag156.xml"/><Relationship Id="rId172" Type="http://schemas.openxmlformats.org/officeDocument/2006/relationships/tags" Target="../tags/tag177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9" Type="http://schemas.openxmlformats.org/officeDocument/2006/relationships/tags" Target="../tags/tag44.xml"/><Relationship Id="rId109" Type="http://schemas.openxmlformats.org/officeDocument/2006/relationships/tags" Target="../tags/tag114.xml"/><Relationship Id="rId34" Type="http://schemas.openxmlformats.org/officeDocument/2006/relationships/tags" Target="../tags/tag39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6" Type="http://schemas.openxmlformats.org/officeDocument/2006/relationships/tags" Target="../tags/tag81.xml"/><Relationship Id="rId97" Type="http://schemas.openxmlformats.org/officeDocument/2006/relationships/tags" Target="../tags/tag102.xml"/><Relationship Id="rId104" Type="http://schemas.openxmlformats.org/officeDocument/2006/relationships/tags" Target="../tags/tag109.xml"/><Relationship Id="rId120" Type="http://schemas.openxmlformats.org/officeDocument/2006/relationships/tags" Target="../tags/tag125.xml"/><Relationship Id="rId125" Type="http://schemas.openxmlformats.org/officeDocument/2006/relationships/tags" Target="../tags/tag130.xml"/><Relationship Id="rId141" Type="http://schemas.openxmlformats.org/officeDocument/2006/relationships/tags" Target="../tags/tag146.xml"/><Relationship Id="rId146" Type="http://schemas.openxmlformats.org/officeDocument/2006/relationships/tags" Target="../tags/tag151.xml"/><Relationship Id="rId167" Type="http://schemas.openxmlformats.org/officeDocument/2006/relationships/tags" Target="../tags/tag172.xml"/><Relationship Id="rId188" Type="http://schemas.openxmlformats.org/officeDocument/2006/relationships/tags" Target="../tags/tag193.xml"/><Relationship Id="rId7" Type="http://schemas.openxmlformats.org/officeDocument/2006/relationships/tags" Target="../tags/tag12.xml"/><Relationship Id="rId71" Type="http://schemas.openxmlformats.org/officeDocument/2006/relationships/tags" Target="../tags/tag76.xml"/><Relationship Id="rId92" Type="http://schemas.openxmlformats.org/officeDocument/2006/relationships/tags" Target="../tags/tag97.xml"/><Relationship Id="rId162" Type="http://schemas.openxmlformats.org/officeDocument/2006/relationships/tags" Target="../tags/tag167.xml"/><Relationship Id="rId183" Type="http://schemas.openxmlformats.org/officeDocument/2006/relationships/tags" Target="../tags/tag188.xml"/><Relationship Id="rId2" Type="http://schemas.openxmlformats.org/officeDocument/2006/relationships/tags" Target="../tags/tag7.xml"/><Relationship Id="rId29" Type="http://schemas.openxmlformats.org/officeDocument/2006/relationships/tags" Target="../tags/tag34.xml"/><Relationship Id="rId24" Type="http://schemas.openxmlformats.org/officeDocument/2006/relationships/tags" Target="../tags/tag29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66" Type="http://schemas.openxmlformats.org/officeDocument/2006/relationships/tags" Target="../tags/tag71.xml"/><Relationship Id="rId87" Type="http://schemas.openxmlformats.org/officeDocument/2006/relationships/tags" Target="../tags/tag92.xml"/><Relationship Id="rId110" Type="http://schemas.openxmlformats.org/officeDocument/2006/relationships/tags" Target="../tags/tag115.xml"/><Relationship Id="rId115" Type="http://schemas.openxmlformats.org/officeDocument/2006/relationships/tags" Target="../tags/tag120.xml"/><Relationship Id="rId131" Type="http://schemas.openxmlformats.org/officeDocument/2006/relationships/tags" Target="../tags/tag136.xml"/><Relationship Id="rId136" Type="http://schemas.openxmlformats.org/officeDocument/2006/relationships/tags" Target="../tags/tag141.xml"/><Relationship Id="rId157" Type="http://schemas.openxmlformats.org/officeDocument/2006/relationships/tags" Target="../tags/tag162.xml"/><Relationship Id="rId178" Type="http://schemas.openxmlformats.org/officeDocument/2006/relationships/tags" Target="../tags/tag183.xml"/><Relationship Id="rId61" Type="http://schemas.openxmlformats.org/officeDocument/2006/relationships/tags" Target="../tags/tag66.xml"/><Relationship Id="rId82" Type="http://schemas.openxmlformats.org/officeDocument/2006/relationships/tags" Target="../tags/tag87.xml"/><Relationship Id="rId152" Type="http://schemas.openxmlformats.org/officeDocument/2006/relationships/tags" Target="../tags/tag157.xml"/><Relationship Id="rId173" Type="http://schemas.openxmlformats.org/officeDocument/2006/relationships/tags" Target="../tags/tag178.xml"/><Relationship Id="rId19" Type="http://schemas.openxmlformats.org/officeDocument/2006/relationships/tags" Target="../tags/tag24.xml"/><Relationship Id="rId14" Type="http://schemas.openxmlformats.org/officeDocument/2006/relationships/tags" Target="../tags/tag19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56" Type="http://schemas.openxmlformats.org/officeDocument/2006/relationships/tags" Target="../tags/tag61.xml"/><Relationship Id="rId77" Type="http://schemas.openxmlformats.org/officeDocument/2006/relationships/tags" Target="../tags/tag82.xml"/><Relationship Id="rId100" Type="http://schemas.openxmlformats.org/officeDocument/2006/relationships/tags" Target="../tags/tag105.xml"/><Relationship Id="rId105" Type="http://schemas.openxmlformats.org/officeDocument/2006/relationships/tags" Target="../tags/tag110.xml"/><Relationship Id="rId126" Type="http://schemas.openxmlformats.org/officeDocument/2006/relationships/tags" Target="../tags/tag131.xml"/><Relationship Id="rId147" Type="http://schemas.openxmlformats.org/officeDocument/2006/relationships/tags" Target="../tags/tag152.xml"/><Relationship Id="rId168" Type="http://schemas.openxmlformats.org/officeDocument/2006/relationships/tags" Target="../tags/tag173.xml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72" Type="http://schemas.openxmlformats.org/officeDocument/2006/relationships/tags" Target="../tags/tag77.xml"/><Relationship Id="rId93" Type="http://schemas.openxmlformats.org/officeDocument/2006/relationships/tags" Target="../tags/tag98.xml"/><Relationship Id="rId98" Type="http://schemas.openxmlformats.org/officeDocument/2006/relationships/tags" Target="../tags/tag103.xml"/><Relationship Id="rId121" Type="http://schemas.openxmlformats.org/officeDocument/2006/relationships/tags" Target="../tags/tag126.xml"/><Relationship Id="rId142" Type="http://schemas.openxmlformats.org/officeDocument/2006/relationships/tags" Target="../tags/tag147.xml"/><Relationship Id="rId163" Type="http://schemas.openxmlformats.org/officeDocument/2006/relationships/tags" Target="../tags/tag168.xml"/><Relationship Id="rId184" Type="http://schemas.openxmlformats.org/officeDocument/2006/relationships/tags" Target="../tags/tag189.xml"/><Relationship Id="rId189" Type="http://schemas.openxmlformats.org/officeDocument/2006/relationships/slideLayout" Target="../slideLayouts/slideLayout24.xml"/><Relationship Id="rId3" Type="http://schemas.openxmlformats.org/officeDocument/2006/relationships/tags" Target="../tags/tag8.xml"/><Relationship Id="rId25" Type="http://schemas.openxmlformats.org/officeDocument/2006/relationships/tags" Target="../tags/tag30.xml"/><Relationship Id="rId46" Type="http://schemas.openxmlformats.org/officeDocument/2006/relationships/tags" Target="../tags/tag51.xml"/><Relationship Id="rId67" Type="http://schemas.openxmlformats.org/officeDocument/2006/relationships/tags" Target="../tags/tag72.xml"/><Relationship Id="rId116" Type="http://schemas.openxmlformats.org/officeDocument/2006/relationships/tags" Target="../tags/tag121.xml"/><Relationship Id="rId137" Type="http://schemas.openxmlformats.org/officeDocument/2006/relationships/tags" Target="../tags/tag142.xml"/><Relationship Id="rId158" Type="http://schemas.openxmlformats.org/officeDocument/2006/relationships/tags" Target="../tags/tag163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62" Type="http://schemas.openxmlformats.org/officeDocument/2006/relationships/tags" Target="../tags/tag67.xml"/><Relationship Id="rId83" Type="http://schemas.openxmlformats.org/officeDocument/2006/relationships/tags" Target="../tags/tag88.xml"/><Relationship Id="rId88" Type="http://schemas.openxmlformats.org/officeDocument/2006/relationships/tags" Target="../tags/tag93.xml"/><Relationship Id="rId111" Type="http://schemas.openxmlformats.org/officeDocument/2006/relationships/tags" Target="../tags/tag116.xml"/><Relationship Id="rId132" Type="http://schemas.openxmlformats.org/officeDocument/2006/relationships/tags" Target="../tags/tag137.xml"/><Relationship Id="rId153" Type="http://schemas.openxmlformats.org/officeDocument/2006/relationships/tags" Target="../tags/tag158.xml"/><Relationship Id="rId174" Type="http://schemas.openxmlformats.org/officeDocument/2006/relationships/tags" Target="../tags/tag179.xml"/><Relationship Id="rId179" Type="http://schemas.openxmlformats.org/officeDocument/2006/relationships/tags" Target="../tags/tag184.xml"/><Relationship Id="rId15" Type="http://schemas.openxmlformats.org/officeDocument/2006/relationships/tags" Target="../tags/tag20.xml"/><Relationship Id="rId36" Type="http://schemas.openxmlformats.org/officeDocument/2006/relationships/tags" Target="../tags/tag41.xml"/><Relationship Id="rId57" Type="http://schemas.openxmlformats.org/officeDocument/2006/relationships/tags" Target="../tags/tag62.xml"/><Relationship Id="rId106" Type="http://schemas.openxmlformats.org/officeDocument/2006/relationships/tags" Target="../tags/tag111.xml"/><Relationship Id="rId127" Type="http://schemas.openxmlformats.org/officeDocument/2006/relationships/tags" Target="../tags/tag132.xml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52" Type="http://schemas.openxmlformats.org/officeDocument/2006/relationships/tags" Target="../tags/tag57.xml"/><Relationship Id="rId73" Type="http://schemas.openxmlformats.org/officeDocument/2006/relationships/tags" Target="../tags/tag78.xml"/><Relationship Id="rId78" Type="http://schemas.openxmlformats.org/officeDocument/2006/relationships/tags" Target="../tags/tag83.xml"/><Relationship Id="rId94" Type="http://schemas.openxmlformats.org/officeDocument/2006/relationships/tags" Target="../tags/tag99.xml"/><Relationship Id="rId99" Type="http://schemas.openxmlformats.org/officeDocument/2006/relationships/tags" Target="../tags/tag104.xml"/><Relationship Id="rId101" Type="http://schemas.openxmlformats.org/officeDocument/2006/relationships/tags" Target="../tags/tag106.xml"/><Relationship Id="rId122" Type="http://schemas.openxmlformats.org/officeDocument/2006/relationships/tags" Target="../tags/tag127.xml"/><Relationship Id="rId143" Type="http://schemas.openxmlformats.org/officeDocument/2006/relationships/tags" Target="../tags/tag148.xml"/><Relationship Id="rId148" Type="http://schemas.openxmlformats.org/officeDocument/2006/relationships/tags" Target="../tags/tag153.xml"/><Relationship Id="rId164" Type="http://schemas.openxmlformats.org/officeDocument/2006/relationships/tags" Target="../tags/tag169.xml"/><Relationship Id="rId169" Type="http://schemas.openxmlformats.org/officeDocument/2006/relationships/tags" Target="../tags/tag174.xml"/><Relationship Id="rId185" Type="http://schemas.openxmlformats.org/officeDocument/2006/relationships/tags" Target="../tags/tag190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80" Type="http://schemas.openxmlformats.org/officeDocument/2006/relationships/tags" Target="../tags/tag185.xml"/><Relationship Id="rId26" Type="http://schemas.openxmlformats.org/officeDocument/2006/relationships/tags" Target="../tags/tag31.xml"/><Relationship Id="rId47" Type="http://schemas.openxmlformats.org/officeDocument/2006/relationships/tags" Target="../tags/tag52.xml"/><Relationship Id="rId68" Type="http://schemas.openxmlformats.org/officeDocument/2006/relationships/tags" Target="../tags/tag73.xml"/><Relationship Id="rId89" Type="http://schemas.openxmlformats.org/officeDocument/2006/relationships/tags" Target="../tags/tag94.xml"/><Relationship Id="rId112" Type="http://schemas.openxmlformats.org/officeDocument/2006/relationships/tags" Target="../tags/tag117.xml"/><Relationship Id="rId133" Type="http://schemas.openxmlformats.org/officeDocument/2006/relationships/tags" Target="../tags/tag138.xml"/><Relationship Id="rId154" Type="http://schemas.openxmlformats.org/officeDocument/2006/relationships/tags" Target="../tags/tag159.xml"/><Relationship Id="rId175" Type="http://schemas.openxmlformats.org/officeDocument/2006/relationships/tags" Target="../tags/tag180.xml"/><Relationship Id="rId16" Type="http://schemas.openxmlformats.org/officeDocument/2006/relationships/tags" Target="../tags/tag21.xml"/><Relationship Id="rId37" Type="http://schemas.openxmlformats.org/officeDocument/2006/relationships/tags" Target="../tags/tag42.xml"/><Relationship Id="rId58" Type="http://schemas.openxmlformats.org/officeDocument/2006/relationships/tags" Target="../tags/tag63.xml"/><Relationship Id="rId79" Type="http://schemas.openxmlformats.org/officeDocument/2006/relationships/tags" Target="../tags/tag84.xml"/><Relationship Id="rId102" Type="http://schemas.openxmlformats.org/officeDocument/2006/relationships/tags" Target="../tags/tag107.xml"/><Relationship Id="rId123" Type="http://schemas.openxmlformats.org/officeDocument/2006/relationships/tags" Target="../tags/tag128.xml"/><Relationship Id="rId144" Type="http://schemas.openxmlformats.org/officeDocument/2006/relationships/tags" Target="../tags/tag149.xml"/><Relationship Id="rId90" Type="http://schemas.openxmlformats.org/officeDocument/2006/relationships/tags" Target="../tags/tag95.xml"/><Relationship Id="rId165" Type="http://schemas.openxmlformats.org/officeDocument/2006/relationships/tags" Target="../tags/tag170.xml"/><Relationship Id="rId186" Type="http://schemas.openxmlformats.org/officeDocument/2006/relationships/tags" Target="../tags/tag191.xml"/><Relationship Id="rId27" Type="http://schemas.openxmlformats.org/officeDocument/2006/relationships/tags" Target="../tags/tag32.xml"/><Relationship Id="rId48" Type="http://schemas.openxmlformats.org/officeDocument/2006/relationships/tags" Target="../tags/tag53.xml"/><Relationship Id="rId69" Type="http://schemas.openxmlformats.org/officeDocument/2006/relationships/tags" Target="../tags/tag74.xml"/><Relationship Id="rId113" Type="http://schemas.openxmlformats.org/officeDocument/2006/relationships/tags" Target="../tags/tag118.xml"/><Relationship Id="rId134" Type="http://schemas.openxmlformats.org/officeDocument/2006/relationships/tags" Target="../tags/tag139.xml"/><Relationship Id="rId80" Type="http://schemas.openxmlformats.org/officeDocument/2006/relationships/tags" Target="../tags/tag85.xml"/><Relationship Id="rId155" Type="http://schemas.openxmlformats.org/officeDocument/2006/relationships/tags" Target="../tags/tag160.xml"/><Relationship Id="rId176" Type="http://schemas.openxmlformats.org/officeDocument/2006/relationships/tags" Target="../tags/tag181.xml"/><Relationship Id="rId17" Type="http://schemas.openxmlformats.org/officeDocument/2006/relationships/tags" Target="../tags/tag22.xml"/><Relationship Id="rId38" Type="http://schemas.openxmlformats.org/officeDocument/2006/relationships/tags" Target="../tags/tag43.xml"/><Relationship Id="rId59" Type="http://schemas.openxmlformats.org/officeDocument/2006/relationships/tags" Target="../tags/tag64.xml"/><Relationship Id="rId103" Type="http://schemas.openxmlformats.org/officeDocument/2006/relationships/tags" Target="../tags/tag108.xml"/><Relationship Id="rId124" Type="http://schemas.openxmlformats.org/officeDocument/2006/relationships/tags" Target="../tags/tag129.xml"/><Relationship Id="rId70" Type="http://schemas.openxmlformats.org/officeDocument/2006/relationships/tags" Target="../tags/tag75.xml"/><Relationship Id="rId91" Type="http://schemas.openxmlformats.org/officeDocument/2006/relationships/tags" Target="../tags/tag96.xml"/><Relationship Id="rId145" Type="http://schemas.openxmlformats.org/officeDocument/2006/relationships/tags" Target="../tags/tag150.xml"/><Relationship Id="rId166" Type="http://schemas.openxmlformats.org/officeDocument/2006/relationships/tags" Target="../tags/tag171.xml"/><Relationship Id="rId187" Type="http://schemas.openxmlformats.org/officeDocument/2006/relationships/tags" Target="../tags/tag192.xml"/><Relationship Id="rId1" Type="http://schemas.openxmlformats.org/officeDocument/2006/relationships/tags" Target="../tags/tag6.xml"/><Relationship Id="rId28" Type="http://schemas.openxmlformats.org/officeDocument/2006/relationships/tags" Target="../tags/tag33.xml"/><Relationship Id="rId49" Type="http://schemas.openxmlformats.org/officeDocument/2006/relationships/tags" Target="../tags/tag54.xml"/><Relationship Id="rId114" Type="http://schemas.openxmlformats.org/officeDocument/2006/relationships/tags" Target="../tags/tag119.xml"/><Relationship Id="rId60" Type="http://schemas.openxmlformats.org/officeDocument/2006/relationships/tags" Target="../tags/tag65.xml"/><Relationship Id="rId81" Type="http://schemas.openxmlformats.org/officeDocument/2006/relationships/tags" Target="../tags/tag86.xml"/><Relationship Id="rId135" Type="http://schemas.openxmlformats.org/officeDocument/2006/relationships/tags" Target="../tags/tag140.xml"/><Relationship Id="rId156" Type="http://schemas.openxmlformats.org/officeDocument/2006/relationships/tags" Target="../tags/tag161.xml"/><Relationship Id="rId177" Type="http://schemas.openxmlformats.org/officeDocument/2006/relationships/tags" Target="../tags/tag18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F5452-760A-626D-05DC-AE25D4B9A3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688" y="1286597"/>
            <a:ext cx="8980942" cy="1948816"/>
          </a:xfrm>
        </p:spPr>
        <p:txBody>
          <a:bodyPr/>
          <a:lstStyle/>
          <a:p>
            <a:r>
              <a:rPr lang="nb-NO" dirty="0"/>
              <a:t>Planning for Floating Offshore Wind</a:t>
            </a:r>
            <a:br>
              <a:rPr lang="nb-NO" dirty="0"/>
            </a:br>
            <a:r>
              <a:rPr lang="nb-NO" dirty="0"/>
              <a:t>- based on experience</a:t>
            </a:r>
          </a:p>
        </p:txBody>
      </p:sp>
    </p:spTree>
    <p:extLst>
      <p:ext uri="{BB962C8B-B14F-4D97-AF65-F5344CB8AC3E}">
        <p14:creationId xmlns:p14="http://schemas.microsoft.com/office/powerpoint/2010/main" val="95977189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B13BEE7-C2F7-AAD1-0B75-6F1DED13AF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0946" cy="685800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DE8501B-1CEF-DED5-7FBF-0348AE9E58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483" y="3763164"/>
            <a:ext cx="457264" cy="2943636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3E8ED1B-7EBC-4938-7395-9226E603667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717099" y="6274210"/>
            <a:ext cx="1147438" cy="43225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4E288A-F7D4-1CE6-7CF6-4399DE27A42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1BA9FC8-5EBF-F142-AEB3-06A34A8F883A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375FC38-D291-53EF-95BE-99F9F62CD692}"/>
              </a:ext>
            </a:extLst>
          </p:cNvPr>
          <p:cNvSpPr/>
          <p:nvPr/>
        </p:nvSpPr>
        <p:spPr>
          <a:xfrm rot="18134803">
            <a:off x="1723443" y="1538230"/>
            <a:ext cx="5872235" cy="1867163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Picture 28" descr="A picture containing logo&#10;&#10;Description automatically generated">
            <a:extLst>
              <a:ext uri="{FF2B5EF4-FFF2-40B4-BE49-F238E27FC236}">
                <a16:creationId xmlns:a16="http://schemas.microsoft.com/office/drawing/2014/main" id="{2F88AC73-4841-BDE7-613E-01895CFC5DE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7437" y="6294257"/>
            <a:ext cx="1383253" cy="460736"/>
          </a:xfrm>
          <a:prstGeom prst="rect">
            <a:avLst/>
          </a:prstGeom>
        </p:spPr>
      </p:pic>
      <p:sp>
        <p:nvSpPr>
          <p:cNvPr id="10" name="Star: 5 Points 9">
            <a:extLst>
              <a:ext uri="{FF2B5EF4-FFF2-40B4-BE49-F238E27FC236}">
                <a16:creationId xmlns:a16="http://schemas.microsoft.com/office/drawing/2014/main" id="{DB69993C-DB06-7A21-AFC9-5BCFC5BAE684}"/>
              </a:ext>
            </a:extLst>
          </p:cNvPr>
          <p:cNvSpPr/>
          <p:nvPr/>
        </p:nvSpPr>
        <p:spPr>
          <a:xfrm>
            <a:off x="5960962" y="520861"/>
            <a:ext cx="219919" cy="115747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7F38ACB9-074F-E32D-CA0F-1F785041B491}"/>
              </a:ext>
            </a:extLst>
          </p:cNvPr>
          <p:cNvSpPr/>
          <p:nvPr/>
        </p:nvSpPr>
        <p:spPr>
          <a:xfrm>
            <a:off x="3222172" y="4423458"/>
            <a:ext cx="367910" cy="27257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5E922596-DB27-C422-5C08-9EBDC4209C6D}"/>
              </a:ext>
            </a:extLst>
          </p:cNvPr>
          <p:cNvSpPr/>
          <p:nvPr/>
        </p:nvSpPr>
        <p:spPr>
          <a:xfrm>
            <a:off x="4212772" y="2841171"/>
            <a:ext cx="328650" cy="273145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12C7B24-F46E-268D-1619-A10A23C35603}"/>
              </a:ext>
            </a:extLst>
          </p:cNvPr>
          <p:cNvSpPr/>
          <p:nvPr/>
        </p:nvSpPr>
        <p:spPr>
          <a:xfrm rot="18134803">
            <a:off x="5633305" y="5609893"/>
            <a:ext cx="1633345" cy="1134466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8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C8836F-7842-CC6E-EF91-76F3C4316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C8836F-7842-CC6E-EF91-76F3C4316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11EC7C6C-5426-A05A-7E96-32BA3844BD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7"/>
          <a:stretch/>
        </p:blipFill>
        <p:spPr bwMode="auto">
          <a:xfrm>
            <a:off x="237744" y="1395646"/>
            <a:ext cx="6924296" cy="4884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4" name="Rectangle 1053">
            <a:extLst>
              <a:ext uri="{FF2B5EF4-FFF2-40B4-BE49-F238E27FC236}">
                <a16:creationId xmlns:a16="http://schemas.microsoft.com/office/drawing/2014/main" id="{D9D84646-3A41-01EC-D23D-8BC52561B535}"/>
              </a:ext>
            </a:extLst>
          </p:cNvPr>
          <p:cNvSpPr/>
          <p:nvPr/>
        </p:nvSpPr>
        <p:spPr>
          <a:xfrm>
            <a:off x="347061" y="1474295"/>
            <a:ext cx="6705662" cy="4707659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 err="1">
              <a:ln>
                <a:noFill/>
              </a:ln>
              <a:solidFill>
                <a:srgbClr val="1E34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E7EB15-5277-C467-9F1F-879231868A3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990060" y="6426615"/>
            <a:ext cx="7543800" cy="318924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1D35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to BNP Paribas - private and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CD4E33-22EF-B7D7-2140-B9871D75E43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BA9FC8-5EBF-F142-AEB3-06A34A8F883A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1D35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1D35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375B1FF-C53A-55A3-A12A-F53DC5C54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057" y="346341"/>
            <a:ext cx="11757804" cy="373396"/>
          </a:xfrm>
        </p:spPr>
        <p:txBody>
          <a:bodyPr vert="horz">
            <a:noAutofit/>
          </a:bodyPr>
          <a:lstStyle/>
          <a:p>
            <a:r>
              <a:rPr lang="en-US"/>
              <a:t>30GW of offshore wind concession areas has been identifie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41A938-E259-40CF-0266-FF0601D9CA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272" y="1693312"/>
            <a:ext cx="914402" cy="914400"/>
          </a:xfrm>
          <a:prstGeom prst="rect">
            <a:avLst/>
          </a:prstGeom>
        </p:spPr>
      </p:pic>
      <p:sp>
        <p:nvSpPr>
          <p:cNvPr id="9" name="Norway">
            <a:extLst>
              <a:ext uri="{FF2B5EF4-FFF2-40B4-BE49-F238E27FC236}">
                <a16:creationId xmlns:a16="http://schemas.microsoft.com/office/drawing/2014/main" id="{C6B265C0-CC11-BAFA-B912-3DCD4ED4764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703258">
            <a:off x="8737168" y="1210808"/>
            <a:ext cx="2757997" cy="4713211"/>
          </a:xfrm>
          <a:custGeom>
            <a:avLst/>
            <a:gdLst/>
            <a:ahLst/>
            <a:cxnLst/>
            <a:rect l="l" t="t" r="r" b="b"/>
            <a:pathLst>
              <a:path w="2433554" h="4641851">
                <a:moveTo>
                  <a:pt x="160622" y="4310392"/>
                </a:moveTo>
                <a:lnTo>
                  <a:pt x="170070" y="4310392"/>
                </a:lnTo>
                <a:lnTo>
                  <a:pt x="178337" y="4331459"/>
                </a:lnTo>
                <a:lnTo>
                  <a:pt x="160622" y="4331459"/>
                </a:lnTo>
                <a:lnTo>
                  <a:pt x="160622" y="4320224"/>
                </a:lnTo>
                <a:close/>
                <a:moveTo>
                  <a:pt x="80310" y="4087078"/>
                </a:moveTo>
                <a:lnTo>
                  <a:pt x="98026" y="4098314"/>
                </a:lnTo>
                <a:lnTo>
                  <a:pt x="98026" y="4108145"/>
                </a:lnTo>
                <a:lnTo>
                  <a:pt x="107474" y="4129212"/>
                </a:lnTo>
                <a:lnTo>
                  <a:pt x="107474" y="4140448"/>
                </a:lnTo>
                <a:lnTo>
                  <a:pt x="98026" y="4150280"/>
                </a:lnTo>
                <a:lnTo>
                  <a:pt x="98026" y="4129212"/>
                </a:lnTo>
                <a:lnTo>
                  <a:pt x="89758" y="4108145"/>
                </a:lnTo>
                <a:close/>
                <a:moveTo>
                  <a:pt x="115742" y="4075842"/>
                </a:moveTo>
                <a:lnTo>
                  <a:pt x="133458" y="4085673"/>
                </a:lnTo>
                <a:lnTo>
                  <a:pt x="142906" y="4098313"/>
                </a:lnTo>
                <a:lnTo>
                  <a:pt x="142906" y="4119381"/>
                </a:lnTo>
                <a:lnTo>
                  <a:pt x="125190" y="4119381"/>
                </a:lnTo>
                <a:lnTo>
                  <a:pt x="125190" y="4108145"/>
                </a:lnTo>
                <a:lnTo>
                  <a:pt x="125190" y="4098313"/>
                </a:lnTo>
                <a:lnTo>
                  <a:pt x="115742" y="4085673"/>
                </a:lnTo>
                <a:close/>
                <a:moveTo>
                  <a:pt x="167118" y="3990167"/>
                </a:moveTo>
                <a:lnTo>
                  <a:pt x="158850" y="3998594"/>
                </a:lnTo>
                <a:lnTo>
                  <a:pt x="151764" y="4016853"/>
                </a:lnTo>
                <a:lnTo>
                  <a:pt x="151764" y="4035111"/>
                </a:lnTo>
                <a:lnTo>
                  <a:pt x="167118" y="4016853"/>
                </a:lnTo>
                <a:lnTo>
                  <a:pt x="181290" y="4016853"/>
                </a:lnTo>
                <a:lnTo>
                  <a:pt x="188376" y="3998594"/>
                </a:lnTo>
                <a:close/>
                <a:moveTo>
                  <a:pt x="43699" y="3779493"/>
                </a:moveTo>
                <a:lnTo>
                  <a:pt x="70863" y="3800561"/>
                </a:lnTo>
                <a:lnTo>
                  <a:pt x="70863" y="3810392"/>
                </a:lnTo>
                <a:lnTo>
                  <a:pt x="53147" y="3810392"/>
                </a:lnTo>
                <a:lnTo>
                  <a:pt x="43699" y="3789325"/>
                </a:lnTo>
                <a:close/>
                <a:moveTo>
                  <a:pt x="25983" y="3726123"/>
                </a:moveTo>
                <a:lnTo>
                  <a:pt x="35432" y="3726123"/>
                </a:lnTo>
                <a:lnTo>
                  <a:pt x="35432" y="3735954"/>
                </a:lnTo>
                <a:lnTo>
                  <a:pt x="35432" y="3747190"/>
                </a:lnTo>
                <a:lnTo>
                  <a:pt x="43699" y="3757021"/>
                </a:lnTo>
                <a:lnTo>
                  <a:pt x="35432" y="3768257"/>
                </a:lnTo>
                <a:lnTo>
                  <a:pt x="25983" y="3735954"/>
                </a:lnTo>
                <a:close/>
                <a:moveTo>
                  <a:pt x="8267" y="3714887"/>
                </a:moveTo>
                <a:lnTo>
                  <a:pt x="17716" y="3714887"/>
                </a:lnTo>
                <a:lnTo>
                  <a:pt x="25983" y="3726123"/>
                </a:lnTo>
                <a:lnTo>
                  <a:pt x="0" y="3726123"/>
                </a:lnTo>
                <a:close/>
                <a:moveTo>
                  <a:pt x="27164" y="3692415"/>
                </a:moveTo>
                <a:lnTo>
                  <a:pt x="36612" y="3705056"/>
                </a:lnTo>
                <a:lnTo>
                  <a:pt x="27164" y="3714887"/>
                </a:lnTo>
                <a:lnTo>
                  <a:pt x="17715" y="3705056"/>
                </a:lnTo>
                <a:close/>
                <a:moveTo>
                  <a:pt x="149398" y="3685397"/>
                </a:moveTo>
                <a:lnTo>
                  <a:pt x="139955" y="3696627"/>
                </a:lnTo>
                <a:lnTo>
                  <a:pt x="136807" y="3705361"/>
                </a:lnTo>
                <a:close/>
                <a:moveTo>
                  <a:pt x="149403" y="3685391"/>
                </a:moveTo>
                <a:lnTo>
                  <a:pt x="149403" y="3685392"/>
                </a:lnTo>
                <a:lnTo>
                  <a:pt x="160427" y="3689137"/>
                </a:lnTo>
                <a:lnTo>
                  <a:pt x="157671" y="3685391"/>
                </a:lnTo>
                <a:close/>
                <a:moveTo>
                  <a:pt x="44880" y="3661516"/>
                </a:moveTo>
                <a:lnTo>
                  <a:pt x="54328" y="3671347"/>
                </a:lnTo>
                <a:lnTo>
                  <a:pt x="44880" y="3682583"/>
                </a:lnTo>
                <a:lnTo>
                  <a:pt x="54328" y="3703650"/>
                </a:lnTo>
                <a:lnTo>
                  <a:pt x="61415" y="3692415"/>
                </a:lnTo>
                <a:lnTo>
                  <a:pt x="70863" y="3703650"/>
                </a:lnTo>
                <a:lnTo>
                  <a:pt x="61415" y="3703650"/>
                </a:lnTo>
                <a:lnTo>
                  <a:pt x="54328" y="3713482"/>
                </a:lnTo>
                <a:lnTo>
                  <a:pt x="54328" y="3724718"/>
                </a:lnTo>
                <a:lnTo>
                  <a:pt x="44880" y="3713482"/>
                </a:lnTo>
                <a:lnTo>
                  <a:pt x="44880" y="3692415"/>
                </a:lnTo>
                <a:lnTo>
                  <a:pt x="36612" y="3682583"/>
                </a:lnTo>
                <a:close/>
                <a:moveTo>
                  <a:pt x="44878" y="3352528"/>
                </a:moveTo>
                <a:lnTo>
                  <a:pt x="54327" y="3352528"/>
                </a:lnTo>
                <a:lnTo>
                  <a:pt x="54327" y="3363764"/>
                </a:lnTo>
                <a:lnTo>
                  <a:pt x="70862" y="3363764"/>
                </a:lnTo>
                <a:lnTo>
                  <a:pt x="61413" y="3373595"/>
                </a:lnTo>
                <a:lnTo>
                  <a:pt x="44878" y="3384831"/>
                </a:lnTo>
                <a:lnTo>
                  <a:pt x="44878" y="3373595"/>
                </a:lnTo>
                <a:lnTo>
                  <a:pt x="36611" y="3363764"/>
                </a:lnTo>
                <a:close/>
                <a:moveTo>
                  <a:pt x="140544" y="3279494"/>
                </a:moveTo>
                <a:lnTo>
                  <a:pt x="152355" y="3286517"/>
                </a:lnTo>
                <a:lnTo>
                  <a:pt x="152355" y="3303371"/>
                </a:lnTo>
                <a:lnTo>
                  <a:pt x="145268" y="3310393"/>
                </a:lnTo>
                <a:lnTo>
                  <a:pt x="140544" y="3310393"/>
                </a:lnTo>
                <a:lnTo>
                  <a:pt x="140544" y="3303371"/>
                </a:lnTo>
                <a:lnTo>
                  <a:pt x="133458" y="3286517"/>
                </a:lnTo>
                <a:close/>
                <a:moveTo>
                  <a:pt x="208402" y="3222384"/>
                </a:moveTo>
                <a:lnTo>
                  <a:pt x="207864" y="3223114"/>
                </a:lnTo>
                <a:lnTo>
                  <a:pt x="207864" y="3224719"/>
                </a:lnTo>
                <a:lnTo>
                  <a:pt x="207864" y="3226323"/>
                </a:lnTo>
                <a:lnTo>
                  <a:pt x="214951" y="3235955"/>
                </a:lnTo>
                <a:lnTo>
                  <a:pt x="214951" y="3247191"/>
                </a:lnTo>
                <a:lnTo>
                  <a:pt x="214951" y="3250007"/>
                </a:lnTo>
                <a:lnTo>
                  <a:pt x="217914" y="3250007"/>
                </a:lnTo>
                <a:lnTo>
                  <a:pt x="217914" y="3240150"/>
                </a:lnTo>
                <a:close/>
                <a:moveTo>
                  <a:pt x="242115" y="3150281"/>
                </a:moveTo>
                <a:lnTo>
                  <a:pt x="242115" y="3161516"/>
                </a:lnTo>
                <a:lnTo>
                  <a:pt x="232667" y="3171348"/>
                </a:lnTo>
                <a:lnTo>
                  <a:pt x="224399" y="3171348"/>
                </a:lnTo>
                <a:lnTo>
                  <a:pt x="214951" y="3171348"/>
                </a:lnTo>
                <a:lnTo>
                  <a:pt x="232667" y="3161516"/>
                </a:lnTo>
                <a:close/>
                <a:moveTo>
                  <a:pt x="250382" y="3127808"/>
                </a:moveTo>
                <a:lnTo>
                  <a:pt x="259830" y="3140448"/>
                </a:lnTo>
                <a:lnTo>
                  <a:pt x="250382" y="3150280"/>
                </a:lnTo>
                <a:lnTo>
                  <a:pt x="242115" y="3140448"/>
                </a:lnTo>
                <a:close/>
                <a:moveTo>
                  <a:pt x="335417" y="3012640"/>
                </a:moveTo>
                <a:lnTo>
                  <a:pt x="356676" y="3012640"/>
                </a:lnTo>
                <a:lnTo>
                  <a:pt x="356676" y="3030898"/>
                </a:lnTo>
                <a:lnTo>
                  <a:pt x="349590" y="3030898"/>
                </a:lnTo>
                <a:lnTo>
                  <a:pt x="356676" y="3047752"/>
                </a:lnTo>
                <a:lnTo>
                  <a:pt x="349590" y="3047752"/>
                </a:lnTo>
                <a:lnTo>
                  <a:pt x="328331" y="3056179"/>
                </a:lnTo>
                <a:lnTo>
                  <a:pt x="320063" y="3056179"/>
                </a:lnTo>
                <a:lnTo>
                  <a:pt x="312977" y="3064606"/>
                </a:lnTo>
                <a:lnTo>
                  <a:pt x="312977" y="3047752"/>
                </a:lnTo>
                <a:lnTo>
                  <a:pt x="320063" y="3047752"/>
                </a:lnTo>
                <a:lnTo>
                  <a:pt x="328331" y="3039325"/>
                </a:lnTo>
                <a:lnTo>
                  <a:pt x="335417" y="3039325"/>
                </a:lnTo>
                <a:lnTo>
                  <a:pt x="335417" y="3030898"/>
                </a:lnTo>
                <a:close/>
                <a:moveTo>
                  <a:pt x="388564" y="2915730"/>
                </a:moveTo>
                <a:lnTo>
                  <a:pt x="402737" y="2915730"/>
                </a:lnTo>
                <a:lnTo>
                  <a:pt x="402737" y="2925562"/>
                </a:lnTo>
                <a:lnTo>
                  <a:pt x="402737" y="2941011"/>
                </a:lnTo>
                <a:lnTo>
                  <a:pt x="394470" y="2941011"/>
                </a:lnTo>
                <a:lnTo>
                  <a:pt x="388564" y="2941011"/>
                </a:lnTo>
                <a:lnTo>
                  <a:pt x="367305" y="2959269"/>
                </a:lnTo>
                <a:lnTo>
                  <a:pt x="367305" y="2950842"/>
                </a:lnTo>
                <a:lnTo>
                  <a:pt x="367305" y="2933989"/>
                </a:lnTo>
                <a:lnTo>
                  <a:pt x="374392" y="2925562"/>
                </a:lnTo>
                <a:close/>
                <a:moveTo>
                  <a:pt x="477143" y="2852528"/>
                </a:moveTo>
                <a:lnTo>
                  <a:pt x="493677" y="2862360"/>
                </a:lnTo>
                <a:lnTo>
                  <a:pt x="500764" y="2862360"/>
                </a:lnTo>
                <a:lnTo>
                  <a:pt x="500764" y="2870787"/>
                </a:lnTo>
                <a:lnTo>
                  <a:pt x="477143" y="2880618"/>
                </a:lnTo>
                <a:lnTo>
                  <a:pt x="467694" y="2880618"/>
                </a:lnTo>
                <a:lnTo>
                  <a:pt x="435806" y="2907303"/>
                </a:lnTo>
                <a:lnTo>
                  <a:pt x="411004" y="2915730"/>
                </a:lnTo>
                <a:lnTo>
                  <a:pt x="427538" y="2889045"/>
                </a:lnTo>
                <a:lnTo>
                  <a:pt x="435806" y="2870787"/>
                </a:lnTo>
                <a:lnTo>
                  <a:pt x="444073" y="2862360"/>
                </a:lnTo>
                <a:lnTo>
                  <a:pt x="467694" y="2862360"/>
                </a:lnTo>
                <a:close/>
                <a:moveTo>
                  <a:pt x="458247" y="2800562"/>
                </a:moveTo>
                <a:lnTo>
                  <a:pt x="465333" y="2808989"/>
                </a:lnTo>
                <a:lnTo>
                  <a:pt x="473600" y="2808989"/>
                </a:lnTo>
                <a:lnTo>
                  <a:pt x="458247" y="2834269"/>
                </a:lnTo>
                <a:lnTo>
                  <a:pt x="442893" y="2834269"/>
                </a:lnTo>
                <a:lnTo>
                  <a:pt x="434625" y="2844101"/>
                </a:lnTo>
                <a:lnTo>
                  <a:pt x="411004" y="2852528"/>
                </a:lnTo>
                <a:lnTo>
                  <a:pt x="419272" y="2834269"/>
                </a:lnTo>
                <a:lnTo>
                  <a:pt x="434625" y="2834269"/>
                </a:lnTo>
                <a:lnTo>
                  <a:pt x="449979" y="2818820"/>
                </a:lnTo>
                <a:lnTo>
                  <a:pt x="449979" y="2808989"/>
                </a:lnTo>
                <a:close/>
                <a:moveTo>
                  <a:pt x="787758" y="2129214"/>
                </a:moveTo>
                <a:lnTo>
                  <a:pt x="796025" y="2129214"/>
                </a:lnTo>
                <a:lnTo>
                  <a:pt x="787758" y="2139046"/>
                </a:lnTo>
                <a:lnTo>
                  <a:pt x="778309" y="2160113"/>
                </a:lnTo>
                <a:lnTo>
                  <a:pt x="759413" y="2160113"/>
                </a:lnTo>
                <a:lnTo>
                  <a:pt x="759413" y="2150282"/>
                </a:lnTo>
                <a:lnTo>
                  <a:pt x="759413" y="2139046"/>
                </a:lnTo>
                <a:lnTo>
                  <a:pt x="768861" y="2139046"/>
                </a:lnTo>
                <a:close/>
                <a:moveTo>
                  <a:pt x="874567" y="1992010"/>
                </a:moveTo>
                <a:lnTo>
                  <a:pt x="866887" y="2000000"/>
                </a:lnTo>
                <a:lnTo>
                  <a:pt x="866887" y="2010909"/>
                </a:lnTo>
                <a:lnTo>
                  <a:pt x="874567" y="2004211"/>
                </a:lnTo>
                <a:close/>
                <a:moveTo>
                  <a:pt x="778309" y="1477529"/>
                </a:moveTo>
                <a:lnTo>
                  <a:pt x="787757" y="1477529"/>
                </a:lnTo>
                <a:lnTo>
                  <a:pt x="787757" y="1485956"/>
                </a:lnTo>
                <a:lnTo>
                  <a:pt x="787757" y="1492979"/>
                </a:lnTo>
                <a:lnTo>
                  <a:pt x="778309" y="1501406"/>
                </a:lnTo>
                <a:close/>
                <a:moveTo>
                  <a:pt x="921216" y="1299159"/>
                </a:moveTo>
                <a:lnTo>
                  <a:pt x="914130" y="1317214"/>
                </a:lnTo>
                <a:lnTo>
                  <a:pt x="921216" y="1307584"/>
                </a:lnTo>
                <a:close/>
                <a:moveTo>
                  <a:pt x="1117271" y="1158709"/>
                </a:moveTo>
                <a:lnTo>
                  <a:pt x="1126719" y="1181181"/>
                </a:lnTo>
                <a:lnTo>
                  <a:pt x="1109004" y="1192416"/>
                </a:lnTo>
                <a:lnTo>
                  <a:pt x="1099555" y="1202248"/>
                </a:lnTo>
                <a:lnTo>
                  <a:pt x="1099555" y="1192416"/>
                </a:lnTo>
                <a:lnTo>
                  <a:pt x="1099555" y="1181181"/>
                </a:lnTo>
                <a:lnTo>
                  <a:pt x="1109004" y="1169945"/>
                </a:lnTo>
                <a:close/>
                <a:moveTo>
                  <a:pt x="974363" y="1117978"/>
                </a:moveTo>
                <a:lnTo>
                  <a:pt x="984993" y="1117978"/>
                </a:lnTo>
                <a:lnTo>
                  <a:pt x="1002709" y="1117978"/>
                </a:lnTo>
                <a:lnTo>
                  <a:pt x="1010976" y="1129214"/>
                </a:lnTo>
                <a:lnTo>
                  <a:pt x="993260" y="1158708"/>
                </a:lnTo>
                <a:lnTo>
                  <a:pt x="974363" y="1169944"/>
                </a:lnTo>
                <a:lnTo>
                  <a:pt x="956647" y="1191012"/>
                </a:lnTo>
                <a:lnTo>
                  <a:pt x="948380" y="1158708"/>
                </a:lnTo>
                <a:lnTo>
                  <a:pt x="956647" y="1150281"/>
                </a:lnTo>
                <a:lnTo>
                  <a:pt x="974363" y="1129214"/>
                </a:lnTo>
                <a:close/>
                <a:moveTo>
                  <a:pt x="956647" y="1043540"/>
                </a:moveTo>
                <a:lnTo>
                  <a:pt x="966095" y="1053372"/>
                </a:lnTo>
                <a:lnTo>
                  <a:pt x="983811" y="1074439"/>
                </a:lnTo>
                <a:lnTo>
                  <a:pt x="992078" y="1085675"/>
                </a:lnTo>
                <a:lnTo>
                  <a:pt x="1001527" y="1095506"/>
                </a:lnTo>
                <a:lnTo>
                  <a:pt x="983811" y="1116573"/>
                </a:lnTo>
                <a:lnTo>
                  <a:pt x="974363" y="1116573"/>
                </a:lnTo>
                <a:lnTo>
                  <a:pt x="966095" y="1095506"/>
                </a:lnTo>
                <a:lnTo>
                  <a:pt x="956647" y="1116573"/>
                </a:lnTo>
                <a:lnTo>
                  <a:pt x="956647" y="1127809"/>
                </a:lnTo>
                <a:lnTo>
                  <a:pt x="956647" y="1148877"/>
                </a:lnTo>
                <a:lnTo>
                  <a:pt x="930664" y="1158708"/>
                </a:lnTo>
                <a:lnTo>
                  <a:pt x="930664" y="1148877"/>
                </a:lnTo>
                <a:lnTo>
                  <a:pt x="921216" y="1127809"/>
                </a:lnTo>
                <a:lnTo>
                  <a:pt x="938931" y="1106742"/>
                </a:lnTo>
                <a:lnTo>
                  <a:pt x="948380" y="1085675"/>
                </a:lnTo>
                <a:lnTo>
                  <a:pt x="948380" y="1064607"/>
                </a:lnTo>
                <a:close/>
                <a:moveTo>
                  <a:pt x="1081838" y="1000000"/>
                </a:moveTo>
                <a:lnTo>
                  <a:pt x="1091287" y="1000000"/>
                </a:lnTo>
                <a:lnTo>
                  <a:pt x="1109003" y="1021067"/>
                </a:lnTo>
                <a:lnTo>
                  <a:pt x="1117270" y="1043539"/>
                </a:lnTo>
                <a:lnTo>
                  <a:pt x="1106943" y="1049270"/>
                </a:lnTo>
                <a:lnTo>
                  <a:pt x="1126719" y="1064608"/>
                </a:lnTo>
                <a:lnTo>
                  <a:pt x="1126719" y="1074439"/>
                </a:lnTo>
                <a:lnTo>
                  <a:pt x="1117271" y="1108147"/>
                </a:lnTo>
                <a:lnTo>
                  <a:pt x="1117271" y="1139046"/>
                </a:lnTo>
                <a:lnTo>
                  <a:pt x="1099555" y="1139046"/>
                </a:lnTo>
                <a:lnTo>
                  <a:pt x="1091288" y="1139046"/>
                </a:lnTo>
                <a:lnTo>
                  <a:pt x="1073572" y="1160113"/>
                </a:lnTo>
                <a:lnTo>
                  <a:pt x="1055344" y="1170951"/>
                </a:lnTo>
                <a:lnTo>
                  <a:pt x="1055856" y="1171348"/>
                </a:lnTo>
                <a:lnTo>
                  <a:pt x="1055856" y="1181180"/>
                </a:lnTo>
                <a:lnTo>
                  <a:pt x="1055856" y="1202247"/>
                </a:lnTo>
                <a:lnTo>
                  <a:pt x="1064123" y="1213483"/>
                </a:lnTo>
                <a:lnTo>
                  <a:pt x="1046408" y="1234550"/>
                </a:lnTo>
                <a:lnTo>
                  <a:pt x="1038140" y="1223314"/>
                </a:lnTo>
                <a:lnTo>
                  <a:pt x="1028692" y="1213483"/>
                </a:lnTo>
                <a:lnTo>
                  <a:pt x="1028692" y="1192415"/>
                </a:lnTo>
                <a:lnTo>
                  <a:pt x="1019243" y="1202247"/>
                </a:lnTo>
                <a:lnTo>
                  <a:pt x="1009795" y="1223314"/>
                </a:lnTo>
                <a:lnTo>
                  <a:pt x="1001528" y="1223314"/>
                </a:lnTo>
                <a:lnTo>
                  <a:pt x="992079" y="1213483"/>
                </a:lnTo>
                <a:lnTo>
                  <a:pt x="992079" y="1223315"/>
                </a:lnTo>
                <a:lnTo>
                  <a:pt x="992079" y="1223316"/>
                </a:lnTo>
                <a:lnTo>
                  <a:pt x="992080" y="1223315"/>
                </a:lnTo>
                <a:lnTo>
                  <a:pt x="1010976" y="1223315"/>
                </a:lnTo>
                <a:lnTo>
                  <a:pt x="1010976" y="1244382"/>
                </a:lnTo>
                <a:lnTo>
                  <a:pt x="1010976" y="1255618"/>
                </a:lnTo>
                <a:lnTo>
                  <a:pt x="992080" y="1255618"/>
                </a:lnTo>
                <a:lnTo>
                  <a:pt x="985945" y="1247281"/>
                </a:lnTo>
                <a:lnTo>
                  <a:pt x="983811" y="1255618"/>
                </a:lnTo>
                <a:lnTo>
                  <a:pt x="974363" y="1265450"/>
                </a:lnTo>
                <a:lnTo>
                  <a:pt x="966096" y="1276686"/>
                </a:lnTo>
                <a:lnTo>
                  <a:pt x="956647" y="1276686"/>
                </a:lnTo>
                <a:lnTo>
                  <a:pt x="930664" y="1307584"/>
                </a:lnTo>
                <a:lnTo>
                  <a:pt x="913683" y="1318354"/>
                </a:lnTo>
                <a:lnTo>
                  <a:pt x="912948" y="1320227"/>
                </a:lnTo>
                <a:lnTo>
                  <a:pt x="895233" y="1320227"/>
                </a:lnTo>
                <a:lnTo>
                  <a:pt x="885784" y="1320227"/>
                </a:lnTo>
                <a:lnTo>
                  <a:pt x="876336" y="1330058"/>
                </a:lnTo>
                <a:lnTo>
                  <a:pt x="866888" y="1341294"/>
                </a:lnTo>
                <a:lnTo>
                  <a:pt x="843780" y="1341294"/>
                </a:lnTo>
                <a:lnTo>
                  <a:pt x="849172" y="1362360"/>
                </a:lnTo>
                <a:lnTo>
                  <a:pt x="831456" y="1384832"/>
                </a:lnTo>
                <a:lnTo>
                  <a:pt x="813740" y="1405900"/>
                </a:lnTo>
                <a:lnTo>
                  <a:pt x="813740" y="1426967"/>
                </a:lnTo>
                <a:lnTo>
                  <a:pt x="796025" y="1438203"/>
                </a:lnTo>
                <a:lnTo>
                  <a:pt x="796025" y="1394664"/>
                </a:lnTo>
                <a:lnTo>
                  <a:pt x="796025" y="1384832"/>
                </a:lnTo>
                <a:lnTo>
                  <a:pt x="813740" y="1362360"/>
                </a:lnTo>
                <a:lnTo>
                  <a:pt x="823189" y="1341293"/>
                </a:lnTo>
                <a:lnTo>
                  <a:pt x="840904" y="1330057"/>
                </a:lnTo>
                <a:lnTo>
                  <a:pt x="840905" y="1330059"/>
                </a:lnTo>
                <a:lnTo>
                  <a:pt x="840905" y="1320227"/>
                </a:lnTo>
                <a:lnTo>
                  <a:pt x="849172" y="1320227"/>
                </a:lnTo>
                <a:lnTo>
                  <a:pt x="849172" y="1299159"/>
                </a:lnTo>
                <a:lnTo>
                  <a:pt x="849172" y="1286518"/>
                </a:lnTo>
                <a:lnTo>
                  <a:pt x="866888" y="1276687"/>
                </a:lnTo>
                <a:lnTo>
                  <a:pt x="885784" y="1276687"/>
                </a:lnTo>
                <a:lnTo>
                  <a:pt x="895233" y="1286518"/>
                </a:lnTo>
                <a:lnTo>
                  <a:pt x="895233" y="1265451"/>
                </a:lnTo>
                <a:lnTo>
                  <a:pt x="903500" y="1255619"/>
                </a:lnTo>
                <a:lnTo>
                  <a:pt x="912948" y="1265451"/>
                </a:lnTo>
                <a:lnTo>
                  <a:pt x="921216" y="1276687"/>
                </a:lnTo>
                <a:lnTo>
                  <a:pt x="921216" y="1276686"/>
                </a:lnTo>
                <a:lnTo>
                  <a:pt x="930664" y="1265450"/>
                </a:lnTo>
                <a:lnTo>
                  <a:pt x="938932" y="1255618"/>
                </a:lnTo>
                <a:lnTo>
                  <a:pt x="948380" y="1234551"/>
                </a:lnTo>
                <a:lnTo>
                  <a:pt x="966096" y="1234551"/>
                </a:lnTo>
                <a:lnTo>
                  <a:pt x="974363" y="1213484"/>
                </a:lnTo>
                <a:lnTo>
                  <a:pt x="983811" y="1213484"/>
                </a:lnTo>
                <a:lnTo>
                  <a:pt x="992079" y="1202248"/>
                </a:lnTo>
                <a:lnTo>
                  <a:pt x="992079" y="1181180"/>
                </a:lnTo>
                <a:lnTo>
                  <a:pt x="1009795" y="1160112"/>
                </a:lnTo>
                <a:lnTo>
                  <a:pt x="1028692" y="1150281"/>
                </a:lnTo>
                <a:lnTo>
                  <a:pt x="1053801" y="1169754"/>
                </a:lnTo>
                <a:lnTo>
                  <a:pt x="1036959" y="1139046"/>
                </a:lnTo>
                <a:lnTo>
                  <a:pt x="1019243" y="1150282"/>
                </a:lnTo>
                <a:lnTo>
                  <a:pt x="1019243" y="1129214"/>
                </a:lnTo>
                <a:lnTo>
                  <a:pt x="1019243" y="1117978"/>
                </a:lnTo>
                <a:lnTo>
                  <a:pt x="1009795" y="1108147"/>
                </a:lnTo>
                <a:lnTo>
                  <a:pt x="1001527" y="1108147"/>
                </a:lnTo>
                <a:lnTo>
                  <a:pt x="1009795" y="1095506"/>
                </a:lnTo>
                <a:lnTo>
                  <a:pt x="1019243" y="1085675"/>
                </a:lnTo>
                <a:lnTo>
                  <a:pt x="1027510" y="1085675"/>
                </a:lnTo>
                <a:lnTo>
                  <a:pt x="1027510" y="1074439"/>
                </a:lnTo>
                <a:lnTo>
                  <a:pt x="1027510" y="1053372"/>
                </a:lnTo>
                <a:lnTo>
                  <a:pt x="1036959" y="1043540"/>
                </a:lnTo>
                <a:lnTo>
                  <a:pt x="1045226" y="1043540"/>
                </a:lnTo>
                <a:lnTo>
                  <a:pt x="1054675" y="1064608"/>
                </a:lnTo>
                <a:lnTo>
                  <a:pt x="1045226" y="1085675"/>
                </a:lnTo>
                <a:lnTo>
                  <a:pt x="1064123" y="1085675"/>
                </a:lnTo>
                <a:lnTo>
                  <a:pt x="1081839" y="1074439"/>
                </a:lnTo>
                <a:lnTo>
                  <a:pt x="1081839" y="1085675"/>
                </a:lnTo>
                <a:lnTo>
                  <a:pt x="1091288" y="1085675"/>
                </a:lnTo>
                <a:lnTo>
                  <a:pt x="1081839" y="1064608"/>
                </a:lnTo>
                <a:lnTo>
                  <a:pt x="1099554" y="1043541"/>
                </a:lnTo>
                <a:lnTo>
                  <a:pt x="1099554" y="1043539"/>
                </a:lnTo>
                <a:lnTo>
                  <a:pt x="1081838" y="1021067"/>
                </a:lnTo>
                <a:close/>
                <a:moveTo>
                  <a:pt x="1027510" y="925562"/>
                </a:moveTo>
                <a:lnTo>
                  <a:pt x="1045226" y="925562"/>
                </a:lnTo>
                <a:lnTo>
                  <a:pt x="1045226" y="957865"/>
                </a:lnTo>
                <a:lnTo>
                  <a:pt x="1045226" y="978933"/>
                </a:lnTo>
                <a:lnTo>
                  <a:pt x="1027510" y="1001405"/>
                </a:lnTo>
                <a:lnTo>
                  <a:pt x="1027510" y="1011236"/>
                </a:lnTo>
                <a:lnTo>
                  <a:pt x="1009795" y="1032304"/>
                </a:lnTo>
                <a:lnTo>
                  <a:pt x="1001527" y="1053371"/>
                </a:lnTo>
                <a:lnTo>
                  <a:pt x="1001527" y="1011236"/>
                </a:lnTo>
                <a:lnTo>
                  <a:pt x="1009795" y="1001405"/>
                </a:lnTo>
                <a:lnTo>
                  <a:pt x="1009795" y="990169"/>
                </a:lnTo>
                <a:lnTo>
                  <a:pt x="1027510" y="967697"/>
                </a:lnTo>
                <a:lnTo>
                  <a:pt x="1027510" y="946630"/>
                </a:lnTo>
                <a:close/>
                <a:moveTo>
                  <a:pt x="1368835" y="606743"/>
                </a:moveTo>
                <a:lnTo>
                  <a:pt x="1377103" y="606743"/>
                </a:lnTo>
                <a:lnTo>
                  <a:pt x="1368835" y="650282"/>
                </a:lnTo>
                <a:lnTo>
                  <a:pt x="1351119" y="650282"/>
                </a:lnTo>
                <a:lnTo>
                  <a:pt x="1351119" y="639046"/>
                </a:lnTo>
                <a:lnTo>
                  <a:pt x="1351119" y="629215"/>
                </a:lnTo>
                <a:lnTo>
                  <a:pt x="1359386" y="616575"/>
                </a:lnTo>
                <a:close/>
                <a:moveTo>
                  <a:pt x="1269626" y="585675"/>
                </a:moveTo>
                <a:lnTo>
                  <a:pt x="1269626" y="606742"/>
                </a:lnTo>
                <a:lnTo>
                  <a:pt x="1261358" y="617978"/>
                </a:lnTo>
                <a:lnTo>
                  <a:pt x="1269626" y="617978"/>
                </a:lnTo>
                <a:lnTo>
                  <a:pt x="1288522" y="629214"/>
                </a:lnTo>
                <a:lnTo>
                  <a:pt x="1297971" y="629214"/>
                </a:lnTo>
                <a:lnTo>
                  <a:pt x="1280255" y="650281"/>
                </a:lnTo>
                <a:lnTo>
                  <a:pt x="1261358" y="650281"/>
                </a:lnTo>
                <a:lnTo>
                  <a:pt x="1251910" y="629214"/>
                </a:lnTo>
                <a:lnTo>
                  <a:pt x="1251910" y="606742"/>
                </a:lnTo>
                <a:close/>
                <a:moveTo>
                  <a:pt x="1287342" y="543541"/>
                </a:moveTo>
                <a:lnTo>
                  <a:pt x="1300333" y="551968"/>
                </a:lnTo>
                <a:lnTo>
                  <a:pt x="1306239" y="561799"/>
                </a:lnTo>
                <a:lnTo>
                  <a:pt x="1300333" y="578653"/>
                </a:lnTo>
                <a:lnTo>
                  <a:pt x="1306239" y="588485"/>
                </a:lnTo>
                <a:lnTo>
                  <a:pt x="1306239" y="606743"/>
                </a:lnTo>
                <a:lnTo>
                  <a:pt x="1293247" y="596912"/>
                </a:lnTo>
                <a:lnTo>
                  <a:pt x="1287342" y="570226"/>
                </a:lnTo>
                <a:close/>
                <a:moveTo>
                  <a:pt x="1341670" y="522473"/>
                </a:moveTo>
                <a:lnTo>
                  <a:pt x="1351119" y="532305"/>
                </a:lnTo>
                <a:lnTo>
                  <a:pt x="1378283" y="543540"/>
                </a:lnTo>
                <a:lnTo>
                  <a:pt x="1387732" y="564608"/>
                </a:lnTo>
                <a:lnTo>
                  <a:pt x="1378283" y="574439"/>
                </a:lnTo>
                <a:lnTo>
                  <a:pt x="1360567" y="564608"/>
                </a:lnTo>
                <a:lnTo>
                  <a:pt x="1341670" y="553372"/>
                </a:lnTo>
                <a:lnTo>
                  <a:pt x="1333403" y="543540"/>
                </a:lnTo>
                <a:lnTo>
                  <a:pt x="1333403" y="532305"/>
                </a:lnTo>
                <a:close/>
                <a:moveTo>
                  <a:pt x="1412533" y="500002"/>
                </a:moveTo>
                <a:lnTo>
                  <a:pt x="1430248" y="509834"/>
                </a:lnTo>
                <a:lnTo>
                  <a:pt x="1440878" y="521069"/>
                </a:lnTo>
                <a:lnTo>
                  <a:pt x="1449145" y="530901"/>
                </a:lnTo>
                <a:lnTo>
                  <a:pt x="1449145" y="553373"/>
                </a:lnTo>
                <a:lnTo>
                  <a:pt x="1430248" y="564609"/>
                </a:lnTo>
                <a:lnTo>
                  <a:pt x="1421981" y="564609"/>
                </a:lnTo>
                <a:lnTo>
                  <a:pt x="1412533" y="553373"/>
                </a:lnTo>
                <a:lnTo>
                  <a:pt x="1404265" y="543541"/>
                </a:lnTo>
                <a:lnTo>
                  <a:pt x="1412533" y="521069"/>
                </a:lnTo>
                <a:close/>
                <a:moveTo>
                  <a:pt x="1387731" y="500002"/>
                </a:moveTo>
                <a:lnTo>
                  <a:pt x="1404266" y="511238"/>
                </a:lnTo>
                <a:lnTo>
                  <a:pt x="1395998" y="522474"/>
                </a:lnTo>
                <a:lnTo>
                  <a:pt x="1387731" y="511238"/>
                </a:lnTo>
                <a:close/>
                <a:moveTo>
                  <a:pt x="1600319" y="394663"/>
                </a:moveTo>
                <a:lnTo>
                  <a:pt x="1608586" y="404495"/>
                </a:lnTo>
                <a:lnTo>
                  <a:pt x="1619216" y="404495"/>
                </a:lnTo>
                <a:lnTo>
                  <a:pt x="1636932" y="404495"/>
                </a:lnTo>
                <a:lnTo>
                  <a:pt x="1654647" y="415731"/>
                </a:lnTo>
                <a:lnTo>
                  <a:pt x="1645199" y="425562"/>
                </a:lnTo>
                <a:lnTo>
                  <a:pt x="1636932" y="436798"/>
                </a:lnTo>
                <a:lnTo>
                  <a:pt x="1608586" y="425562"/>
                </a:lnTo>
                <a:lnTo>
                  <a:pt x="1600319" y="436798"/>
                </a:lnTo>
                <a:lnTo>
                  <a:pt x="1582603" y="425562"/>
                </a:lnTo>
                <a:lnTo>
                  <a:pt x="1590871" y="415731"/>
                </a:lnTo>
                <a:lnTo>
                  <a:pt x="1590871" y="404495"/>
                </a:lnTo>
                <a:close/>
                <a:moveTo>
                  <a:pt x="1636932" y="234551"/>
                </a:moveTo>
                <a:lnTo>
                  <a:pt x="1645199" y="244382"/>
                </a:lnTo>
                <a:lnTo>
                  <a:pt x="1636932" y="276686"/>
                </a:lnTo>
                <a:lnTo>
                  <a:pt x="1627484" y="286517"/>
                </a:lnTo>
                <a:lnTo>
                  <a:pt x="1627484" y="310393"/>
                </a:lnTo>
                <a:lnTo>
                  <a:pt x="1627484" y="331461"/>
                </a:lnTo>
                <a:lnTo>
                  <a:pt x="1609768" y="341292"/>
                </a:lnTo>
                <a:lnTo>
                  <a:pt x="1592052" y="352528"/>
                </a:lnTo>
                <a:lnTo>
                  <a:pt x="1574336" y="362360"/>
                </a:lnTo>
                <a:lnTo>
                  <a:pt x="1566069" y="383427"/>
                </a:lnTo>
                <a:lnTo>
                  <a:pt x="1556620" y="383427"/>
                </a:lnTo>
                <a:lnTo>
                  <a:pt x="1538904" y="362360"/>
                </a:lnTo>
                <a:lnTo>
                  <a:pt x="1530637" y="352528"/>
                </a:lnTo>
                <a:lnTo>
                  <a:pt x="1521189" y="362360"/>
                </a:lnTo>
                <a:lnTo>
                  <a:pt x="1521189" y="352528"/>
                </a:lnTo>
                <a:lnTo>
                  <a:pt x="1521189" y="331461"/>
                </a:lnTo>
                <a:lnTo>
                  <a:pt x="1548353" y="320225"/>
                </a:lnTo>
                <a:lnTo>
                  <a:pt x="1556620" y="310393"/>
                </a:lnTo>
                <a:lnTo>
                  <a:pt x="1574336" y="286517"/>
                </a:lnTo>
                <a:lnTo>
                  <a:pt x="1583785" y="265450"/>
                </a:lnTo>
                <a:lnTo>
                  <a:pt x="1601500" y="244382"/>
                </a:lnTo>
                <a:lnTo>
                  <a:pt x="1601500" y="265450"/>
                </a:lnTo>
                <a:lnTo>
                  <a:pt x="1609768" y="265450"/>
                </a:lnTo>
                <a:close/>
                <a:moveTo>
                  <a:pt x="1672363" y="127810"/>
                </a:moveTo>
                <a:lnTo>
                  <a:pt x="1680630" y="127810"/>
                </a:lnTo>
                <a:lnTo>
                  <a:pt x="1691259" y="148877"/>
                </a:lnTo>
                <a:lnTo>
                  <a:pt x="1700708" y="169945"/>
                </a:lnTo>
                <a:lnTo>
                  <a:pt x="1700708" y="179776"/>
                </a:lnTo>
                <a:lnTo>
                  <a:pt x="1672363" y="148877"/>
                </a:lnTo>
                <a:close/>
                <a:moveTo>
                  <a:pt x="1824719" y="43540"/>
                </a:moveTo>
                <a:lnTo>
                  <a:pt x="1832987" y="53371"/>
                </a:lnTo>
                <a:lnTo>
                  <a:pt x="1843616" y="64607"/>
                </a:lnTo>
                <a:lnTo>
                  <a:pt x="1879048" y="74439"/>
                </a:lnTo>
                <a:lnTo>
                  <a:pt x="1887315" y="64607"/>
                </a:lnTo>
                <a:lnTo>
                  <a:pt x="1887315" y="85674"/>
                </a:lnTo>
                <a:lnTo>
                  <a:pt x="1879048" y="95506"/>
                </a:lnTo>
                <a:lnTo>
                  <a:pt x="1861332" y="106742"/>
                </a:lnTo>
                <a:lnTo>
                  <a:pt x="1843616" y="106742"/>
                </a:lnTo>
                <a:lnTo>
                  <a:pt x="1832987" y="116573"/>
                </a:lnTo>
                <a:lnTo>
                  <a:pt x="1824719" y="127809"/>
                </a:lnTo>
                <a:lnTo>
                  <a:pt x="1797555" y="106742"/>
                </a:lnTo>
                <a:lnTo>
                  <a:pt x="1797555" y="95506"/>
                </a:lnTo>
                <a:lnTo>
                  <a:pt x="1807004" y="74439"/>
                </a:lnTo>
                <a:lnTo>
                  <a:pt x="1815271" y="53371"/>
                </a:lnTo>
                <a:close/>
                <a:moveTo>
                  <a:pt x="2122938" y="0"/>
                </a:moveTo>
                <a:lnTo>
                  <a:pt x="2140654" y="0"/>
                </a:lnTo>
                <a:lnTo>
                  <a:pt x="2167818" y="30899"/>
                </a:lnTo>
                <a:lnTo>
                  <a:pt x="2176085" y="42135"/>
                </a:lnTo>
                <a:lnTo>
                  <a:pt x="2185534" y="21067"/>
                </a:lnTo>
                <a:lnTo>
                  <a:pt x="2193801" y="21067"/>
                </a:lnTo>
                <a:lnTo>
                  <a:pt x="2203249" y="30899"/>
                </a:lnTo>
                <a:lnTo>
                  <a:pt x="2220965" y="21067"/>
                </a:lnTo>
                <a:lnTo>
                  <a:pt x="2238681" y="21067"/>
                </a:lnTo>
                <a:lnTo>
                  <a:pt x="2256397" y="21067"/>
                </a:lnTo>
                <a:lnTo>
                  <a:pt x="2256397" y="42135"/>
                </a:lnTo>
                <a:lnTo>
                  <a:pt x="2264664" y="61798"/>
                </a:lnTo>
                <a:lnTo>
                  <a:pt x="2274112" y="61798"/>
                </a:lnTo>
                <a:lnTo>
                  <a:pt x="2291828" y="61798"/>
                </a:lnTo>
                <a:lnTo>
                  <a:pt x="2309544" y="42135"/>
                </a:lnTo>
                <a:lnTo>
                  <a:pt x="2335527" y="42135"/>
                </a:lnTo>
                <a:lnTo>
                  <a:pt x="2353243" y="61798"/>
                </a:lnTo>
                <a:lnTo>
                  <a:pt x="2362691" y="94101"/>
                </a:lnTo>
                <a:lnTo>
                  <a:pt x="2362691" y="115168"/>
                </a:lnTo>
                <a:lnTo>
                  <a:pt x="2344975" y="136236"/>
                </a:lnTo>
                <a:lnTo>
                  <a:pt x="2327260" y="157303"/>
                </a:lnTo>
                <a:lnTo>
                  <a:pt x="2317811" y="198033"/>
                </a:lnTo>
                <a:lnTo>
                  <a:pt x="2291828" y="209269"/>
                </a:lnTo>
                <a:lnTo>
                  <a:pt x="2256397" y="219101"/>
                </a:lnTo>
                <a:lnTo>
                  <a:pt x="2211517" y="231741"/>
                </a:lnTo>
                <a:lnTo>
                  <a:pt x="2193801" y="231741"/>
                </a:lnTo>
                <a:lnTo>
                  <a:pt x="2203249" y="252809"/>
                </a:lnTo>
                <a:lnTo>
                  <a:pt x="2229233" y="252809"/>
                </a:lnTo>
                <a:lnTo>
                  <a:pt x="2274112" y="262640"/>
                </a:lnTo>
                <a:lnTo>
                  <a:pt x="2300096" y="273876"/>
                </a:lnTo>
                <a:lnTo>
                  <a:pt x="2335527" y="273876"/>
                </a:lnTo>
                <a:lnTo>
                  <a:pt x="2353243" y="282303"/>
                </a:lnTo>
                <a:lnTo>
                  <a:pt x="2362691" y="293539"/>
                </a:lnTo>
                <a:lnTo>
                  <a:pt x="2380407" y="273876"/>
                </a:lnTo>
                <a:lnTo>
                  <a:pt x="2398123" y="252809"/>
                </a:lnTo>
                <a:lnTo>
                  <a:pt x="2415838" y="252809"/>
                </a:lnTo>
                <a:lnTo>
                  <a:pt x="2424106" y="293539"/>
                </a:lnTo>
                <a:lnTo>
                  <a:pt x="2433554" y="314606"/>
                </a:lnTo>
                <a:lnTo>
                  <a:pt x="2433554" y="335674"/>
                </a:lnTo>
                <a:lnTo>
                  <a:pt x="2415838" y="335674"/>
                </a:lnTo>
                <a:lnTo>
                  <a:pt x="2388674" y="335674"/>
                </a:lnTo>
                <a:lnTo>
                  <a:pt x="2370959" y="335674"/>
                </a:lnTo>
                <a:lnTo>
                  <a:pt x="2362691" y="345505"/>
                </a:lnTo>
                <a:lnTo>
                  <a:pt x="2362691" y="398876"/>
                </a:lnTo>
                <a:lnTo>
                  <a:pt x="2353243" y="408707"/>
                </a:lnTo>
                <a:lnTo>
                  <a:pt x="2327260" y="429775"/>
                </a:lnTo>
                <a:lnTo>
                  <a:pt x="2309544" y="429775"/>
                </a:lnTo>
                <a:lnTo>
                  <a:pt x="2309544" y="462078"/>
                </a:lnTo>
                <a:lnTo>
                  <a:pt x="2300096" y="483145"/>
                </a:lnTo>
                <a:lnTo>
                  <a:pt x="2309544" y="492977"/>
                </a:lnTo>
                <a:lnTo>
                  <a:pt x="2309544" y="512640"/>
                </a:lnTo>
                <a:lnTo>
                  <a:pt x="2300096" y="546347"/>
                </a:lnTo>
                <a:lnTo>
                  <a:pt x="2291828" y="556179"/>
                </a:lnTo>
                <a:lnTo>
                  <a:pt x="2282380" y="525280"/>
                </a:lnTo>
                <a:lnTo>
                  <a:pt x="2282380" y="483145"/>
                </a:lnTo>
                <a:lnTo>
                  <a:pt x="2291828" y="429775"/>
                </a:lnTo>
                <a:lnTo>
                  <a:pt x="2291828" y="389044"/>
                </a:lnTo>
                <a:lnTo>
                  <a:pt x="2282380" y="377808"/>
                </a:lnTo>
                <a:lnTo>
                  <a:pt x="2256397" y="366572"/>
                </a:lnTo>
                <a:lnTo>
                  <a:pt x="2193801" y="356741"/>
                </a:lnTo>
                <a:lnTo>
                  <a:pt x="2176085" y="345505"/>
                </a:lnTo>
                <a:lnTo>
                  <a:pt x="2167818" y="335674"/>
                </a:lnTo>
                <a:lnTo>
                  <a:pt x="2150102" y="303370"/>
                </a:lnTo>
                <a:lnTo>
                  <a:pt x="2114671" y="303370"/>
                </a:lnTo>
                <a:lnTo>
                  <a:pt x="2105222" y="293539"/>
                </a:lnTo>
                <a:lnTo>
                  <a:pt x="2087507" y="303370"/>
                </a:lnTo>
                <a:lnTo>
                  <a:pt x="2079239" y="335674"/>
                </a:lnTo>
                <a:lnTo>
                  <a:pt x="2069791" y="356741"/>
                </a:lnTo>
                <a:lnTo>
                  <a:pt x="2052075" y="377808"/>
                </a:lnTo>
                <a:lnTo>
                  <a:pt x="2026092" y="377808"/>
                </a:lnTo>
                <a:lnTo>
                  <a:pt x="2008376" y="377808"/>
                </a:lnTo>
                <a:lnTo>
                  <a:pt x="1990661" y="398876"/>
                </a:lnTo>
                <a:lnTo>
                  <a:pt x="1972945" y="419943"/>
                </a:lnTo>
                <a:lnTo>
                  <a:pt x="1963496" y="483145"/>
                </a:lnTo>
                <a:lnTo>
                  <a:pt x="1954048" y="535111"/>
                </a:lnTo>
                <a:lnTo>
                  <a:pt x="1954048" y="577246"/>
                </a:lnTo>
                <a:lnTo>
                  <a:pt x="1990661" y="619381"/>
                </a:lnTo>
                <a:lnTo>
                  <a:pt x="1998928" y="660111"/>
                </a:lnTo>
                <a:lnTo>
                  <a:pt x="1990661" y="703650"/>
                </a:lnTo>
                <a:lnTo>
                  <a:pt x="1990661" y="724718"/>
                </a:lnTo>
                <a:lnTo>
                  <a:pt x="1981212" y="734549"/>
                </a:lnTo>
                <a:lnTo>
                  <a:pt x="1972945" y="755617"/>
                </a:lnTo>
                <a:lnTo>
                  <a:pt x="1981212" y="841291"/>
                </a:lnTo>
                <a:lnTo>
                  <a:pt x="1963496" y="849717"/>
                </a:lnTo>
                <a:lnTo>
                  <a:pt x="1954048" y="860953"/>
                </a:lnTo>
                <a:lnTo>
                  <a:pt x="1936332" y="841291"/>
                </a:lnTo>
                <a:lnTo>
                  <a:pt x="1928065" y="818819"/>
                </a:lnTo>
                <a:lnTo>
                  <a:pt x="1910349" y="818819"/>
                </a:lnTo>
                <a:lnTo>
                  <a:pt x="1892633" y="828650"/>
                </a:lnTo>
                <a:lnTo>
                  <a:pt x="1857202" y="828650"/>
                </a:lnTo>
                <a:lnTo>
                  <a:pt x="1847754" y="807583"/>
                </a:lnTo>
                <a:lnTo>
                  <a:pt x="1830038" y="807583"/>
                </a:lnTo>
                <a:lnTo>
                  <a:pt x="1812322" y="828650"/>
                </a:lnTo>
                <a:lnTo>
                  <a:pt x="1812322" y="849717"/>
                </a:lnTo>
                <a:lnTo>
                  <a:pt x="1794606" y="870785"/>
                </a:lnTo>
                <a:lnTo>
                  <a:pt x="1776891" y="882021"/>
                </a:lnTo>
                <a:lnTo>
                  <a:pt x="1768623" y="891852"/>
                </a:lnTo>
                <a:lnTo>
                  <a:pt x="1750907" y="903088"/>
                </a:lnTo>
                <a:lnTo>
                  <a:pt x="1733192" y="891852"/>
                </a:lnTo>
                <a:lnTo>
                  <a:pt x="1723743" y="882021"/>
                </a:lnTo>
                <a:lnTo>
                  <a:pt x="1706028" y="891852"/>
                </a:lnTo>
                <a:lnTo>
                  <a:pt x="1688312" y="882021"/>
                </a:lnTo>
                <a:lnTo>
                  <a:pt x="1670596" y="870785"/>
                </a:lnTo>
                <a:lnTo>
                  <a:pt x="1652880" y="849717"/>
                </a:lnTo>
                <a:lnTo>
                  <a:pt x="1635165" y="828650"/>
                </a:lnTo>
                <a:lnTo>
                  <a:pt x="1629509" y="824913"/>
                </a:lnTo>
                <a:lnTo>
                  <a:pt x="1630001" y="823711"/>
                </a:lnTo>
                <a:cubicBezTo>
                  <a:pt x="1629178" y="824758"/>
                  <a:pt x="1628226" y="825686"/>
                  <a:pt x="1627264" y="826616"/>
                </a:cubicBezTo>
                <a:lnTo>
                  <a:pt x="1600913" y="806179"/>
                </a:lnTo>
                <a:lnTo>
                  <a:pt x="1565482" y="796347"/>
                </a:lnTo>
                <a:lnTo>
                  <a:pt x="1539498" y="785111"/>
                </a:lnTo>
                <a:lnTo>
                  <a:pt x="1530050" y="764044"/>
                </a:lnTo>
                <a:lnTo>
                  <a:pt x="1512334" y="775280"/>
                </a:lnTo>
                <a:lnTo>
                  <a:pt x="1512334" y="796347"/>
                </a:lnTo>
                <a:lnTo>
                  <a:pt x="1504067" y="817415"/>
                </a:lnTo>
                <a:lnTo>
                  <a:pt x="1512334" y="849718"/>
                </a:lnTo>
                <a:lnTo>
                  <a:pt x="1504067" y="860954"/>
                </a:lnTo>
                <a:lnTo>
                  <a:pt x="1476903" y="860954"/>
                </a:lnTo>
                <a:lnTo>
                  <a:pt x="1441471" y="903089"/>
                </a:lnTo>
                <a:lnTo>
                  <a:pt x="1459187" y="987358"/>
                </a:lnTo>
                <a:lnTo>
                  <a:pt x="1459187" y="1008426"/>
                </a:lnTo>
                <a:lnTo>
                  <a:pt x="1450920" y="1029493"/>
                </a:lnTo>
                <a:lnTo>
                  <a:pt x="1468635" y="1060392"/>
                </a:lnTo>
                <a:lnTo>
                  <a:pt x="1459187" y="1092695"/>
                </a:lnTo>
                <a:lnTo>
                  <a:pt x="1423755" y="1092695"/>
                </a:lnTo>
                <a:lnTo>
                  <a:pt x="1380057" y="1092695"/>
                </a:lnTo>
                <a:lnTo>
                  <a:pt x="1291478" y="1103931"/>
                </a:lnTo>
                <a:lnTo>
                  <a:pt x="1273762" y="1113763"/>
                </a:lnTo>
                <a:lnTo>
                  <a:pt x="1273762" y="1134830"/>
                </a:lnTo>
                <a:lnTo>
                  <a:pt x="1299745" y="1220504"/>
                </a:lnTo>
                <a:lnTo>
                  <a:pt x="1291478" y="1251403"/>
                </a:lnTo>
                <a:lnTo>
                  <a:pt x="1273762" y="1304774"/>
                </a:lnTo>
                <a:lnTo>
                  <a:pt x="1238331" y="1283706"/>
                </a:lnTo>
                <a:lnTo>
                  <a:pt x="1211166" y="1294942"/>
                </a:lnTo>
                <a:lnTo>
                  <a:pt x="1167468" y="1367976"/>
                </a:lnTo>
                <a:lnTo>
                  <a:pt x="1175735" y="1443818"/>
                </a:lnTo>
                <a:lnTo>
                  <a:pt x="1175735" y="1464886"/>
                </a:lnTo>
                <a:lnTo>
                  <a:pt x="1132036" y="1495785"/>
                </a:lnTo>
                <a:lnTo>
                  <a:pt x="1132036" y="1516852"/>
                </a:lnTo>
                <a:lnTo>
                  <a:pt x="1185183" y="1578650"/>
                </a:lnTo>
                <a:lnTo>
                  <a:pt x="1193451" y="1601122"/>
                </a:lnTo>
                <a:lnTo>
                  <a:pt x="1175735" y="1633425"/>
                </a:lnTo>
                <a:lnTo>
                  <a:pt x="1132036" y="1696627"/>
                </a:lnTo>
                <a:lnTo>
                  <a:pt x="1132036" y="1717695"/>
                </a:lnTo>
                <a:lnTo>
                  <a:pt x="1140303" y="1761234"/>
                </a:lnTo>
                <a:lnTo>
                  <a:pt x="1114320" y="1793537"/>
                </a:lnTo>
                <a:lnTo>
                  <a:pt x="1104872" y="1814605"/>
                </a:lnTo>
                <a:lnTo>
                  <a:pt x="1122588" y="1865166"/>
                </a:lnTo>
                <a:lnTo>
                  <a:pt x="1114320" y="1887638"/>
                </a:lnTo>
                <a:lnTo>
                  <a:pt x="1051725" y="1962076"/>
                </a:lnTo>
                <a:lnTo>
                  <a:pt x="1034009" y="1971908"/>
                </a:lnTo>
                <a:lnTo>
                  <a:pt x="1061173" y="2057582"/>
                </a:lnTo>
                <a:lnTo>
                  <a:pt x="1051725" y="2078649"/>
                </a:lnTo>
                <a:lnTo>
                  <a:pt x="1043457" y="2132020"/>
                </a:lnTo>
                <a:lnTo>
                  <a:pt x="1051725" y="2183986"/>
                </a:lnTo>
                <a:lnTo>
                  <a:pt x="1061173" y="2216289"/>
                </a:lnTo>
                <a:lnTo>
                  <a:pt x="1051725" y="2279492"/>
                </a:lnTo>
                <a:lnTo>
                  <a:pt x="1025742" y="2353930"/>
                </a:lnTo>
                <a:lnTo>
                  <a:pt x="1008026" y="2459267"/>
                </a:lnTo>
                <a:lnTo>
                  <a:pt x="1025742" y="2469098"/>
                </a:lnTo>
                <a:lnTo>
                  <a:pt x="1051725" y="2501401"/>
                </a:lnTo>
                <a:lnTo>
                  <a:pt x="1069440" y="2522469"/>
                </a:lnTo>
                <a:lnTo>
                  <a:pt x="1069440" y="2564604"/>
                </a:lnTo>
                <a:lnTo>
                  <a:pt x="1069440" y="2596907"/>
                </a:lnTo>
                <a:lnTo>
                  <a:pt x="1051725" y="2627806"/>
                </a:lnTo>
                <a:lnTo>
                  <a:pt x="990310" y="2617974"/>
                </a:lnTo>
                <a:lnTo>
                  <a:pt x="945430" y="2627806"/>
                </a:lnTo>
                <a:lnTo>
                  <a:pt x="909999" y="2672749"/>
                </a:lnTo>
                <a:lnTo>
                  <a:pt x="892283" y="2714884"/>
                </a:lnTo>
                <a:lnTo>
                  <a:pt x="848584" y="2830053"/>
                </a:lnTo>
                <a:lnTo>
                  <a:pt x="866300" y="2872187"/>
                </a:lnTo>
                <a:lnTo>
                  <a:pt x="856851" y="2904491"/>
                </a:lnTo>
                <a:lnTo>
                  <a:pt x="856851" y="2914322"/>
                </a:lnTo>
                <a:lnTo>
                  <a:pt x="848923" y="2920978"/>
                </a:lnTo>
                <a:lnTo>
                  <a:pt x="850957" y="2925578"/>
                </a:lnTo>
                <a:cubicBezTo>
                  <a:pt x="854128" y="2935852"/>
                  <a:pt x="857245" y="2946167"/>
                  <a:pt x="860415" y="2956441"/>
                </a:cubicBezTo>
                <a:cubicBezTo>
                  <a:pt x="865897" y="2970032"/>
                  <a:pt x="871432" y="2983582"/>
                  <a:pt x="876913" y="2997173"/>
                </a:cubicBezTo>
                <a:lnTo>
                  <a:pt x="876913" y="3008418"/>
                </a:lnTo>
                <a:lnTo>
                  <a:pt x="876913" y="3029492"/>
                </a:lnTo>
                <a:cubicBezTo>
                  <a:pt x="874172" y="3036045"/>
                  <a:pt x="871378" y="3042598"/>
                  <a:pt x="868637" y="3049151"/>
                </a:cubicBezTo>
                <a:cubicBezTo>
                  <a:pt x="871378" y="3052913"/>
                  <a:pt x="874172" y="3056634"/>
                  <a:pt x="876913" y="3060396"/>
                </a:cubicBezTo>
                <a:lnTo>
                  <a:pt x="876913" y="3080054"/>
                </a:lnTo>
                <a:lnTo>
                  <a:pt x="876913" y="3101128"/>
                </a:lnTo>
                <a:lnTo>
                  <a:pt x="886371" y="3122202"/>
                </a:lnTo>
                <a:lnTo>
                  <a:pt x="886371" y="3141861"/>
                </a:lnTo>
                <a:cubicBezTo>
                  <a:pt x="889111" y="3148899"/>
                  <a:pt x="891906" y="3155897"/>
                  <a:pt x="894646" y="3162935"/>
                </a:cubicBezTo>
                <a:lnTo>
                  <a:pt x="894646" y="3183969"/>
                </a:lnTo>
                <a:lnTo>
                  <a:pt x="898188" y="3185390"/>
                </a:lnTo>
                <a:lnTo>
                  <a:pt x="906456" y="3192413"/>
                </a:lnTo>
                <a:lnTo>
                  <a:pt x="906456" y="3213480"/>
                </a:lnTo>
                <a:lnTo>
                  <a:pt x="914723" y="3224716"/>
                </a:lnTo>
                <a:lnTo>
                  <a:pt x="914723" y="3245783"/>
                </a:lnTo>
                <a:lnTo>
                  <a:pt x="914723" y="3265446"/>
                </a:lnTo>
                <a:lnTo>
                  <a:pt x="924171" y="3287918"/>
                </a:lnTo>
                <a:lnTo>
                  <a:pt x="932439" y="3308986"/>
                </a:lnTo>
                <a:lnTo>
                  <a:pt x="932439" y="3372188"/>
                </a:lnTo>
                <a:lnTo>
                  <a:pt x="941887" y="3391851"/>
                </a:lnTo>
                <a:lnTo>
                  <a:pt x="941887" y="3401682"/>
                </a:lnTo>
                <a:lnTo>
                  <a:pt x="950155" y="3412918"/>
                </a:lnTo>
                <a:lnTo>
                  <a:pt x="958422" y="3412918"/>
                </a:lnTo>
                <a:lnTo>
                  <a:pt x="976138" y="3412918"/>
                </a:lnTo>
                <a:lnTo>
                  <a:pt x="984405" y="3412918"/>
                </a:lnTo>
                <a:lnTo>
                  <a:pt x="1003302" y="3433986"/>
                </a:lnTo>
                <a:lnTo>
                  <a:pt x="1011569" y="3456457"/>
                </a:lnTo>
                <a:lnTo>
                  <a:pt x="1037552" y="3487356"/>
                </a:lnTo>
                <a:lnTo>
                  <a:pt x="1037552" y="3518255"/>
                </a:lnTo>
                <a:lnTo>
                  <a:pt x="1029285" y="3539322"/>
                </a:lnTo>
                <a:lnTo>
                  <a:pt x="1011569" y="3571626"/>
                </a:lnTo>
                <a:lnTo>
                  <a:pt x="995034" y="3592693"/>
                </a:lnTo>
                <a:lnTo>
                  <a:pt x="984405" y="3602525"/>
                </a:lnTo>
                <a:lnTo>
                  <a:pt x="976138" y="3602525"/>
                </a:lnTo>
                <a:lnTo>
                  <a:pt x="976138" y="3613761"/>
                </a:lnTo>
                <a:lnTo>
                  <a:pt x="984405" y="3634828"/>
                </a:lnTo>
                <a:lnTo>
                  <a:pt x="984405" y="3655895"/>
                </a:lnTo>
                <a:lnTo>
                  <a:pt x="1003302" y="3706457"/>
                </a:lnTo>
                <a:lnTo>
                  <a:pt x="1019837" y="3738760"/>
                </a:lnTo>
                <a:lnTo>
                  <a:pt x="1037552" y="3749996"/>
                </a:lnTo>
                <a:lnTo>
                  <a:pt x="1037552" y="3761232"/>
                </a:lnTo>
                <a:lnTo>
                  <a:pt x="1029285" y="3803367"/>
                </a:lnTo>
                <a:lnTo>
                  <a:pt x="1029285" y="3823030"/>
                </a:lnTo>
                <a:lnTo>
                  <a:pt x="1029285" y="3832861"/>
                </a:lnTo>
                <a:lnTo>
                  <a:pt x="1037552" y="3844097"/>
                </a:lnTo>
                <a:lnTo>
                  <a:pt x="1037552" y="3865165"/>
                </a:lnTo>
                <a:lnTo>
                  <a:pt x="1003302" y="3928367"/>
                </a:lnTo>
                <a:lnTo>
                  <a:pt x="1003302" y="3938198"/>
                </a:lnTo>
                <a:lnTo>
                  <a:pt x="995034" y="3959266"/>
                </a:lnTo>
                <a:lnTo>
                  <a:pt x="966689" y="3980333"/>
                </a:lnTo>
                <a:lnTo>
                  <a:pt x="976138" y="3959266"/>
                </a:lnTo>
                <a:lnTo>
                  <a:pt x="970405" y="3953300"/>
                </a:lnTo>
                <a:lnTo>
                  <a:pt x="965511" y="3963492"/>
                </a:lnTo>
                <a:lnTo>
                  <a:pt x="965511" y="3973318"/>
                </a:lnTo>
                <a:lnTo>
                  <a:pt x="957235" y="3973318"/>
                </a:lnTo>
                <a:lnTo>
                  <a:pt x="957235" y="3983144"/>
                </a:lnTo>
                <a:lnTo>
                  <a:pt x="948977" y="3994369"/>
                </a:lnTo>
                <a:lnTo>
                  <a:pt x="948977" y="4036501"/>
                </a:lnTo>
                <a:lnTo>
                  <a:pt x="942376" y="4040436"/>
                </a:lnTo>
                <a:lnTo>
                  <a:pt x="958419" y="4043522"/>
                </a:lnTo>
                <a:lnTo>
                  <a:pt x="958419" y="4074433"/>
                </a:lnTo>
                <a:lnTo>
                  <a:pt x="965505" y="4115176"/>
                </a:lnTo>
                <a:lnTo>
                  <a:pt x="974958" y="4134821"/>
                </a:lnTo>
                <a:lnTo>
                  <a:pt x="974958" y="4185397"/>
                </a:lnTo>
                <a:lnTo>
                  <a:pt x="958419" y="4195229"/>
                </a:lnTo>
                <a:lnTo>
                  <a:pt x="941894" y="4195229"/>
                </a:lnTo>
                <a:lnTo>
                  <a:pt x="932440" y="4206455"/>
                </a:lnTo>
                <a:lnTo>
                  <a:pt x="932440" y="4226120"/>
                </a:lnTo>
                <a:lnTo>
                  <a:pt x="900552" y="4214875"/>
                </a:lnTo>
                <a:lnTo>
                  <a:pt x="884013" y="4195229"/>
                </a:lnTo>
                <a:lnTo>
                  <a:pt x="874574" y="4174151"/>
                </a:lnTo>
                <a:lnTo>
                  <a:pt x="858034" y="4185397"/>
                </a:lnTo>
                <a:lnTo>
                  <a:pt x="841495" y="4155899"/>
                </a:lnTo>
                <a:cubicBezTo>
                  <a:pt x="838745" y="4135292"/>
                  <a:pt x="835982" y="4114705"/>
                  <a:pt x="833232" y="4094098"/>
                </a:cubicBezTo>
                <a:lnTo>
                  <a:pt x="833232" y="4084265"/>
                </a:lnTo>
                <a:lnTo>
                  <a:pt x="849772" y="4074433"/>
                </a:lnTo>
                <a:lnTo>
                  <a:pt x="858034" y="4074433"/>
                </a:lnTo>
                <a:lnTo>
                  <a:pt x="862108" y="4064835"/>
                </a:lnTo>
                <a:lnTo>
                  <a:pt x="855680" y="4066008"/>
                </a:lnTo>
                <a:lnTo>
                  <a:pt x="847404" y="4066008"/>
                </a:lnTo>
                <a:lnTo>
                  <a:pt x="841498" y="4047567"/>
                </a:lnTo>
                <a:lnTo>
                  <a:pt x="841498" y="4054774"/>
                </a:lnTo>
                <a:lnTo>
                  <a:pt x="841498" y="4064605"/>
                </a:lnTo>
                <a:lnTo>
                  <a:pt x="833230" y="4075841"/>
                </a:lnTo>
                <a:lnTo>
                  <a:pt x="816696" y="4064605"/>
                </a:lnTo>
                <a:lnTo>
                  <a:pt x="806066" y="4054774"/>
                </a:lnTo>
                <a:lnTo>
                  <a:pt x="806066" y="4033706"/>
                </a:lnTo>
                <a:lnTo>
                  <a:pt x="816696" y="4002808"/>
                </a:lnTo>
                <a:lnTo>
                  <a:pt x="806066" y="3991572"/>
                </a:lnTo>
                <a:lnTo>
                  <a:pt x="806066" y="3970504"/>
                </a:lnTo>
                <a:lnTo>
                  <a:pt x="797799" y="3970504"/>
                </a:lnTo>
                <a:lnTo>
                  <a:pt x="788351" y="3970504"/>
                </a:lnTo>
                <a:lnTo>
                  <a:pt x="780083" y="3980336"/>
                </a:lnTo>
                <a:lnTo>
                  <a:pt x="780083" y="3991572"/>
                </a:lnTo>
                <a:lnTo>
                  <a:pt x="788351" y="4023875"/>
                </a:lnTo>
                <a:lnTo>
                  <a:pt x="788351" y="4043538"/>
                </a:lnTo>
                <a:lnTo>
                  <a:pt x="770635" y="4023875"/>
                </a:lnTo>
                <a:lnTo>
                  <a:pt x="762368" y="4014043"/>
                </a:lnTo>
                <a:lnTo>
                  <a:pt x="762368" y="4002808"/>
                </a:lnTo>
                <a:cubicBezTo>
                  <a:pt x="762367" y="4002803"/>
                  <a:pt x="762366" y="4002799"/>
                  <a:pt x="762365" y="4002794"/>
                </a:cubicBezTo>
                <a:lnTo>
                  <a:pt x="762365" y="4004211"/>
                </a:lnTo>
                <a:lnTo>
                  <a:pt x="762365" y="4025278"/>
                </a:lnTo>
                <a:lnTo>
                  <a:pt x="788349" y="4046346"/>
                </a:lnTo>
                <a:lnTo>
                  <a:pt x="806064" y="4057582"/>
                </a:lnTo>
                <a:lnTo>
                  <a:pt x="806064" y="4077245"/>
                </a:lnTo>
                <a:lnTo>
                  <a:pt x="806064" y="4099717"/>
                </a:lnTo>
                <a:lnTo>
                  <a:pt x="797797" y="4099717"/>
                </a:lnTo>
                <a:lnTo>
                  <a:pt x="788349" y="4087076"/>
                </a:lnTo>
                <a:lnTo>
                  <a:pt x="770633" y="4077245"/>
                </a:lnTo>
                <a:lnTo>
                  <a:pt x="757641" y="4049155"/>
                </a:lnTo>
                <a:lnTo>
                  <a:pt x="747012" y="4043537"/>
                </a:lnTo>
                <a:lnTo>
                  <a:pt x="735201" y="4036514"/>
                </a:lnTo>
                <a:lnTo>
                  <a:pt x="731871" y="4045001"/>
                </a:lnTo>
                <a:lnTo>
                  <a:pt x="733884" y="4051247"/>
                </a:lnTo>
                <a:lnTo>
                  <a:pt x="738746" y="4043537"/>
                </a:lnTo>
                <a:lnTo>
                  <a:pt x="748194" y="4054773"/>
                </a:lnTo>
                <a:lnTo>
                  <a:pt x="755281" y="4054773"/>
                </a:lnTo>
                <a:lnTo>
                  <a:pt x="755281" y="4064605"/>
                </a:lnTo>
                <a:lnTo>
                  <a:pt x="763548" y="4074436"/>
                </a:lnTo>
                <a:lnTo>
                  <a:pt x="771815" y="4084267"/>
                </a:lnTo>
                <a:lnTo>
                  <a:pt x="763548" y="4105335"/>
                </a:lnTo>
                <a:lnTo>
                  <a:pt x="771815" y="4115166"/>
                </a:lnTo>
                <a:lnTo>
                  <a:pt x="780083" y="4146065"/>
                </a:lnTo>
                <a:lnTo>
                  <a:pt x="788350" y="4165728"/>
                </a:lnTo>
                <a:lnTo>
                  <a:pt x="796617" y="4176964"/>
                </a:lnTo>
                <a:lnTo>
                  <a:pt x="796617" y="4198031"/>
                </a:lnTo>
                <a:lnTo>
                  <a:pt x="796617" y="4206458"/>
                </a:lnTo>
                <a:lnTo>
                  <a:pt x="788350" y="4216289"/>
                </a:lnTo>
                <a:lnTo>
                  <a:pt x="788350" y="4237357"/>
                </a:lnTo>
                <a:lnTo>
                  <a:pt x="771815" y="4257019"/>
                </a:lnTo>
                <a:lnTo>
                  <a:pt x="771815" y="4268255"/>
                </a:lnTo>
                <a:lnTo>
                  <a:pt x="738746" y="4268255"/>
                </a:lnTo>
                <a:lnTo>
                  <a:pt x="706858" y="4268255"/>
                </a:lnTo>
                <a:lnTo>
                  <a:pt x="707659" y="4261445"/>
                </a:lnTo>
                <a:lnTo>
                  <a:pt x="690321" y="4271066"/>
                </a:lnTo>
                <a:lnTo>
                  <a:pt x="690321" y="4290729"/>
                </a:lnTo>
                <a:lnTo>
                  <a:pt x="663157" y="4344100"/>
                </a:lnTo>
                <a:lnTo>
                  <a:pt x="654890" y="4353931"/>
                </a:lnTo>
                <a:lnTo>
                  <a:pt x="649698" y="4354117"/>
                </a:lnTo>
                <a:lnTo>
                  <a:pt x="644259" y="4389043"/>
                </a:lnTo>
                <a:lnTo>
                  <a:pt x="617095" y="4432583"/>
                </a:lnTo>
                <a:lnTo>
                  <a:pt x="599379" y="4452246"/>
                </a:lnTo>
                <a:lnTo>
                  <a:pt x="574577" y="4494381"/>
                </a:lnTo>
                <a:lnTo>
                  <a:pt x="566310" y="4523875"/>
                </a:lnTo>
                <a:lnTo>
                  <a:pt x="548594" y="4557583"/>
                </a:lnTo>
                <a:lnTo>
                  <a:pt x="539146" y="4577246"/>
                </a:lnTo>
                <a:lnTo>
                  <a:pt x="530878" y="4587077"/>
                </a:lnTo>
                <a:lnTo>
                  <a:pt x="505629" y="4597521"/>
                </a:lnTo>
                <a:lnTo>
                  <a:pt x="506076" y="4598320"/>
                </a:lnTo>
                <a:cubicBezTo>
                  <a:pt x="504491" y="4606270"/>
                  <a:pt x="502929" y="4614250"/>
                  <a:pt x="501344" y="4622200"/>
                </a:cubicBezTo>
                <a:lnTo>
                  <a:pt x="475361" y="4622200"/>
                </a:lnTo>
                <a:lnTo>
                  <a:pt x="450562" y="4630626"/>
                </a:lnTo>
                <a:lnTo>
                  <a:pt x="415137" y="4630626"/>
                </a:lnTo>
                <a:lnTo>
                  <a:pt x="398597" y="4630626"/>
                </a:lnTo>
                <a:lnTo>
                  <a:pt x="379712" y="4641851"/>
                </a:lnTo>
                <a:lnTo>
                  <a:pt x="363172" y="4641851"/>
                </a:lnTo>
                <a:lnTo>
                  <a:pt x="346631" y="4630626"/>
                </a:lnTo>
                <a:lnTo>
                  <a:pt x="338372" y="4622200"/>
                </a:lnTo>
                <a:lnTo>
                  <a:pt x="328908" y="4622200"/>
                </a:lnTo>
                <a:lnTo>
                  <a:pt x="320649" y="4630626"/>
                </a:lnTo>
                <a:lnTo>
                  <a:pt x="302925" y="4630626"/>
                </a:lnTo>
                <a:lnTo>
                  <a:pt x="302925" y="4610944"/>
                </a:lnTo>
                <a:lnTo>
                  <a:pt x="294666" y="4610944"/>
                </a:lnTo>
                <a:lnTo>
                  <a:pt x="302925" y="4601119"/>
                </a:lnTo>
                <a:lnTo>
                  <a:pt x="302925" y="4580067"/>
                </a:lnTo>
                <a:cubicBezTo>
                  <a:pt x="301363" y="4574916"/>
                  <a:pt x="299778" y="4569765"/>
                  <a:pt x="298215" y="4564614"/>
                </a:cubicBezTo>
                <a:lnTo>
                  <a:pt x="299502" y="4562110"/>
                </a:lnTo>
                <a:lnTo>
                  <a:pt x="298777" y="4561041"/>
                </a:lnTo>
                <a:lnTo>
                  <a:pt x="295854" y="4566008"/>
                </a:lnTo>
                <a:lnTo>
                  <a:pt x="262784" y="4556177"/>
                </a:lnTo>
                <a:lnTo>
                  <a:pt x="237982" y="4556177"/>
                </a:lnTo>
                <a:lnTo>
                  <a:pt x="210818" y="4544941"/>
                </a:lnTo>
                <a:lnTo>
                  <a:pt x="176567" y="4525278"/>
                </a:lnTo>
                <a:lnTo>
                  <a:pt x="161213" y="4481739"/>
                </a:lnTo>
                <a:lnTo>
                  <a:pt x="143498" y="4462076"/>
                </a:lnTo>
                <a:lnTo>
                  <a:pt x="134049" y="4419941"/>
                </a:lnTo>
                <a:lnTo>
                  <a:pt x="134049" y="4367975"/>
                </a:lnTo>
                <a:lnTo>
                  <a:pt x="143498" y="4367975"/>
                </a:lnTo>
                <a:lnTo>
                  <a:pt x="151765" y="4377806"/>
                </a:lnTo>
                <a:lnTo>
                  <a:pt x="161213" y="4398874"/>
                </a:lnTo>
                <a:lnTo>
                  <a:pt x="161213" y="4389042"/>
                </a:lnTo>
                <a:lnTo>
                  <a:pt x="169481" y="4377806"/>
                </a:lnTo>
                <a:lnTo>
                  <a:pt x="186016" y="4389042"/>
                </a:lnTo>
                <a:lnTo>
                  <a:pt x="193102" y="4389042"/>
                </a:lnTo>
                <a:lnTo>
                  <a:pt x="202550" y="4389042"/>
                </a:lnTo>
                <a:lnTo>
                  <a:pt x="186016" y="4316009"/>
                </a:lnTo>
                <a:lnTo>
                  <a:pt x="186016" y="4294941"/>
                </a:lnTo>
                <a:lnTo>
                  <a:pt x="210818" y="4273874"/>
                </a:lnTo>
                <a:lnTo>
                  <a:pt x="186016" y="4252806"/>
                </a:lnTo>
                <a:lnTo>
                  <a:pt x="169481" y="4252806"/>
                </a:lnTo>
                <a:lnTo>
                  <a:pt x="151765" y="4242975"/>
                </a:lnTo>
                <a:lnTo>
                  <a:pt x="143498" y="4233143"/>
                </a:lnTo>
                <a:lnTo>
                  <a:pt x="143498" y="4212076"/>
                </a:lnTo>
                <a:lnTo>
                  <a:pt x="137001" y="4204945"/>
                </a:lnTo>
                <a:lnTo>
                  <a:pt x="137001" y="4220504"/>
                </a:lnTo>
                <a:lnTo>
                  <a:pt x="142906" y="4240167"/>
                </a:lnTo>
                <a:lnTo>
                  <a:pt x="142906" y="4248594"/>
                </a:lnTo>
                <a:lnTo>
                  <a:pt x="129914" y="4258425"/>
                </a:lnTo>
                <a:lnTo>
                  <a:pt x="122828" y="4268257"/>
                </a:lnTo>
                <a:lnTo>
                  <a:pt x="115742" y="4228931"/>
                </a:lnTo>
                <a:lnTo>
                  <a:pt x="115742" y="4191010"/>
                </a:lnTo>
                <a:lnTo>
                  <a:pt x="122828" y="4181178"/>
                </a:lnTo>
                <a:lnTo>
                  <a:pt x="129914" y="4171347"/>
                </a:lnTo>
                <a:lnTo>
                  <a:pt x="134093" y="4188738"/>
                </a:lnTo>
                <a:lnTo>
                  <a:pt x="142051" y="4180063"/>
                </a:lnTo>
                <a:lnTo>
                  <a:pt x="140525" y="4178248"/>
                </a:lnTo>
                <a:lnTo>
                  <a:pt x="143496" y="4170006"/>
                </a:lnTo>
                <a:lnTo>
                  <a:pt x="139953" y="4171346"/>
                </a:lnTo>
                <a:lnTo>
                  <a:pt x="144848" y="4166254"/>
                </a:lnTo>
                <a:lnTo>
                  <a:pt x="147611" y="4158586"/>
                </a:lnTo>
                <a:lnTo>
                  <a:pt x="155796" y="4151376"/>
                </a:lnTo>
                <a:lnTo>
                  <a:pt x="156488" y="4150279"/>
                </a:lnTo>
                <a:lnTo>
                  <a:pt x="175385" y="4130616"/>
                </a:lnTo>
                <a:lnTo>
                  <a:pt x="175385" y="4120784"/>
                </a:lnTo>
                <a:lnTo>
                  <a:pt x="156488" y="4109549"/>
                </a:lnTo>
                <a:lnTo>
                  <a:pt x="149402" y="4087077"/>
                </a:lnTo>
                <a:lnTo>
                  <a:pt x="139953" y="4087077"/>
                </a:lnTo>
                <a:lnTo>
                  <a:pt x="131686" y="4078650"/>
                </a:lnTo>
                <a:lnTo>
                  <a:pt x="139034" y="4049936"/>
                </a:lnTo>
                <a:lnTo>
                  <a:pt x="141003" y="4045254"/>
                </a:lnTo>
                <a:lnTo>
                  <a:pt x="149402" y="4036515"/>
                </a:lnTo>
                <a:lnTo>
                  <a:pt x="149402" y="4025279"/>
                </a:lnTo>
                <a:lnTo>
                  <a:pt x="141003" y="4045254"/>
                </a:lnTo>
                <a:lnTo>
                  <a:pt x="139953" y="4046346"/>
                </a:lnTo>
                <a:lnTo>
                  <a:pt x="139034" y="4049936"/>
                </a:lnTo>
                <a:lnTo>
                  <a:pt x="131686" y="4067414"/>
                </a:lnTo>
                <a:lnTo>
                  <a:pt x="113970" y="4057582"/>
                </a:lnTo>
                <a:lnTo>
                  <a:pt x="105703" y="4046346"/>
                </a:lnTo>
                <a:lnTo>
                  <a:pt x="105703" y="4025279"/>
                </a:lnTo>
                <a:lnTo>
                  <a:pt x="122237" y="4016852"/>
                </a:lnTo>
                <a:lnTo>
                  <a:pt x="131686" y="4016852"/>
                </a:lnTo>
                <a:lnTo>
                  <a:pt x="131686" y="4005616"/>
                </a:lnTo>
                <a:lnTo>
                  <a:pt x="105703" y="3962077"/>
                </a:lnTo>
                <a:lnTo>
                  <a:pt x="97435" y="3974717"/>
                </a:lnTo>
                <a:lnTo>
                  <a:pt x="78539" y="3974717"/>
                </a:lnTo>
                <a:lnTo>
                  <a:pt x="78539" y="3962077"/>
                </a:lnTo>
                <a:lnTo>
                  <a:pt x="69090" y="3942414"/>
                </a:lnTo>
                <a:lnTo>
                  <a:pt x="62004" y="3942414"/>
                </a:lnTo>
                <a:lnTo>
                  <a:pt x="62004" y="3932582"/>
                </a:lnTo>
                <a:lnTo>
                  <a:pt x="69090" y="3911515"/>
                </a:lnTo>
                <a:lnTo>
                  <a:pt x="75179" y="3905179"/>
                </a:lnTo>
                <a:lnTo>
                  <a:pt x="53147" y="3896066"/>
                </a:lnTo>
                <a:lnTo>
                  <a:pt x="43699" y="3874999"/>
                </a:lnTo>
                <a:lnTo>
                  <a:pt x="53147" y="3874999"/>
                </a:lnTo>
                <a:lnTo>
                  <a:pt x="72044" y="3886235"/>
                </a:lnTo>
                <a:lnTo>
                  <a:pt x="80311" y="3896066"/>
                </a:lnTo>
                <a:lnTo>
                  <a:pt x="80311" y="3899839"/>
                </a:lnTo>
                <a:lnTo>
                  <a:pt x="87987" y="3891852"/>
                </a:lnTo>
                <a:lnTo>
                  <a:pt x="87987" y="3870784"/>
                </a:lnTo>
                <a:lnTo>
                  <a:pt x="87987" y="3859549"/>
                </a:lnTo>
                <a:lnTo>
                  <a:pt x="69090" y="3849717"/>
                </a:lnTo>
                <a:lnTo>
                  <a:pt x="62596" y="3849717"/>
                </a:lnTo>
                <a:lnTo>
                  <a:pt x="62596" y="3852528"/>
                </a:lnTo>
                <a:lnTo>
                  <a:pt x="54328" y="3852528"/>
                </a:lnTo>
                <a:lnTo>
                  <a:pt x="36612" y="3831461"/>
                </a:lnTo>
                <a:lnTo>
                  <a:pt x="44880" y="3821629"/>
                </a:lnTo>
                <a:lnTo>
                  <a:pt x="62596" y="3842697"/>
                </a:lnTo>
                <a:lnTo>
                  <a:pt x="62596" y="3847957"/>
                </a:lnTo>
                <a:lnTo>
                  <a:pt x="69090" y="3828650"/>
                </a:lnTo>
                <a:lnTo>
                  <a:pt x="78539" y="3817414"/>
                </a:lnTo>
                <a:lnTo>
                  <a:pt x="78539" y="3796346"/>
                </a:lnTo>
                <a:lnTo>
                  <a:pt x="78539" y="3786515"/>
                </a:lnTo>
                <a:lnTo>
                  <a:pt x="78539" y="3776683"/>
                </a:lnTo>
                <a:lnTo>
                  <a:pt x="62004" y="3776683"/>
                </a:lnTo>
                <a:lnTo>
                  <a:pt x="52555" y="3776683"/>
                </a:lnTo>
                <a:lnTo>
                  <a:pt x="44288" y="3766852"/>
                </a:lnTo>
                <a:lnTo>
                  <a:pt x="44288" y="3755616"/>
                </a:lnTo>
                <a:lnTo>
                  <a:pt x="44288" y="3745785"/>
                </a:lnTo>
                <a:lnTo>
                  <a:pt x="52555" y="3745785"/>
                </a:lnTo>
                <a:lnTo>
                  <a:pt x="62004" y="3734549"/>
                </a:lnTo>
                <a:lnTo>
                  <a:pt x="87987" y="3734549"/>
                </a:lnTo>
                <a:lnTo>
                  <a:pt x="105703" y="3724717"/>
                </a:lnTo>
                <a:lnTo>
                  <a:pt x="122237" y="3724717"/>
                </a:lnTo>
                <a:lnTo>
                  <a:pt x="131686" y="3713481"/>
                </a:lnTo>
                <a:lnTo>
                  <a:pt x="135839" y="3706897"/>
                </a:lnTo>
                <a:lnTo>
                  <a:pt x="119877" y="3719099"/>
                </a:lnTo>
                <a:lnTo>
                  <a:pt x="105704" y="3719099"/>
                </a:lnTo>
                <a:lnTo>
                  <a:pt x="87989" y="3731740"/>
                </a:lnTo>
                <a:lnTo>
                  <a:pt x="60825" y="3714886"/>
                </a:lnTo>
                <a:lnTo>
                  <a:pt x="79721" y="3696627"/>
                </a:lnTo>
                <a:lnTo>
                  <a:pt x="87989" y="3696627"/>
                </a:lnTo>
                <a:lnTo>
                  <a:pt x="105704" y="3696627"/>
                </a:lnTo>
                <a:lnTo>
                  <a:pt x="105704" y="3685391"/>
                </a:lnTo>
                <a:lnTo>
                  <a:pt x="87989" y="3675560"/>
                </a:lnTo>
                <a:lnTo>
                  <a:pt x="69092" y="3685391"/>
                </a:lnTo>
                <a:lnTo>
                  <a:pt x="60825" y="3655897"/>
                </a:lnTo>
                <a:lnTo>
                  <a:pt x="52557" y="3655897"/>
                </a:lnTo>
                <a:lnTo>
                  <a:pt x="44290" y="3644661"/>
                </a:lnTo>
                <a:lnTo>
                  <a:pt x="44290" y="3623594"/>
                </a:lnTo>
                <a:lnTo>
                  <a:pt x="26574" y="3592695"/>
                </a:lnTo>
                <a:lnTo>
                  <a:pt x="44290" y="3571627"/>
                </a:lnTo>
                <a:lnTo>
                  <a:pt x="52557" y="3571627"/>
                </a:lnTo>
                <a:lnTo>
                  <a:pt x="69092" y="3571627"/>
                </a:lnTo>
                <a:lnTo>
                  <a:pt x="79721" y="3560391"/>
                </a:lnTo>
                <a:lnTo>
                  <a:pt x="60825" y="3551964"/>
                </a:lnTo>
                <a:lnTo>
                  <a:pt x="44290" y="3540728"/>
                </a:lnTo>
                <a:lnTo>
                  <a:pt x="34841" y="3509830"/>
                </a:lnTo>
                <a:lnTo>
                  <a:pt x="26574" y="3499998"/>
                </a:lnTo>
                <a:lnTo>
                  <a:pt x="44290" y="3478931"/>
                </a:lnTo>
                <a:lnTo>
                  <a:pt x="44290" y="3469099"/>
                </a:lnTo>
                <a:lnTo>
                  <a:pt x="60825" y="3469099"/>
                </a:lnTo>
                <a:lnTo>
                  <a:pt x="79721" y="3457863"/>
                </a:lnTo>
                <a:lnTo>
                  <a:pt x="79721" y="3448032"/>
                </a:lnTo>
                <a:lnTo>
                  <a:pt x="87989" y="3436796"/>
                </a:lnTo>
                <a:lnTo>
                  <a:pt x="87989" y="3427155"/>
                </a:lnTo>
                <a:lnTo>
                  <a:pt x="86798" y="3428369"/>
                </a:lnTo>
                <a:lnTo>
                  <a:pt x="69113" y="3417124"/>
                </a:lnTo>
                <a:lnTo>
                  <a:pt x="60825" y="3407312"/>
                </a:lnTo>
                <a:lnTo>
                  <a:pt x="69113" y="3397455"/>
                </a:lnTo>
                <a:lnTo>
                  <a:pt x="69113" y="3376397"/>
                </a:lnTo>
                <a:cubicBezTo>
                  <a:pt x="72245" y="3372634"/>
                  <a:pt x="75426" y="3368915"/>
                  <a:pt x="78558" y="3365152"/>
                </a:cubicBezTo>
                <a:lnTo>
                  <a:pt x="86798" y="3344094"/>
                </a:lnTo>
                <a:lnTo>
                  <a:pt x="112770" y="3344094"/>
                </a:lnTo>
                <a:lnTo>
                  <a:pt x="139948" y="3353951"/>
                </a:lnTo>
                <a:lnTo>
                  <a:pt x="149392" y="3353951"/>
                </a:lnTo>
                <a:lnTo>
                  <a:pt x="149392" y="3334282"/>
                </a:lnTo>
                <a:lnTo>
                  <a:pt x="149392" y="3324425"/>
                </a:lnTo>
                <a:lnTo>
                  <a:pt x="174209" y="3292122"/>
                </a:lnTo>
                <a:lnTo>
                  <a:pt x="183653" y="3292122"/>
                </a:lnTo>
                <a:lnTo>
                  <a:pt x="201386" y="3303368"/>
                </a:lnTo>
                <a:lnTo>
                  <a:pt x="209626" y="3313180"/>
                </a:lnTo>
                <a:lnTo>
                  <a:pt x="209626" y="3283699"/>
                </a:lnTo>
                <a:lnTo>
                  <a:pt x="201386" y="3262641"/>
                </a:lnTo>
                <a:lnTo>
                  <a:pt x="201386" y="3258427"/>
                </a:lnTo>
                <a:lnTo>
                  <a:pt x="197235" y="3258427"/>
                </a:lnTo>
                <a:lnTo>
                  <a:pt x="197235" y="3268258"/>
                </a:lnTo>
                <a:lnTo>
                  <a:pt x="178338" y="3279494"/>
                </a:lnTo>
                <a:lnTo>
                  <a:pt x="175976" y="3279494"/>
                </a:lnTo>
                <a:lnTo>
                  <a:pt x="175975" y="3279495"/>
                </a:lnTo>
                <a:lnTo>
                  <a:pt x="175975" y="3279494"/>
                </a:lnTo>
                <a:lnTo>
                  <a:pt x="170071" y="3279494"/>
                </a:lnTo>
                <a:lnTo>
                  <a:pt x="170071" y="3268258"/>
                </a:lnTo>
                <a:lnTo>
                  <a:pt x="175975" y="3261237"/>
                </a:lnTo>
                <a:lnTo>
                  <a:pt x="175975" y="3255215"/>
                </a:lnTo>
                <a:lnTo>
                  <a:pt x="173172" y="3251405"/>
                </a:lnTo>
                <a:lnTo>
                  <a:pt x="167708" y="3251405"/>
                </a:lnTo>
                <a:lnTo>
                  <a:pt x="164164" y="3247191"/>
                </a:lnTo>
                <a:lnTo>
                  <a:pt x="160623" y="3247191"/>
                </a:lnTo>
                <a:lnTo>
                  <a:pt x="152355" y="3247191"/>
                </a:lnTo>
                <a:lnTo>
                  <a:pt x="160623" y="3224719"/>
                </a:lnTo>
                <a:lnTo>
                  <a:pt x="167709" y="3233146"/>
                </a:lnTo>
                <a:lnTo>
                  <a:pt x="179667" y="3233146"/>
                </a:lnTo>
                <a:lnTo>
                  <a:pt x="183061" y="3225970"/>
                </a:lnTo>
                <a:lnTo>
                  <a:pt x="183061" y="3216292"/>
                </a:lnTo>
                <a:lnTo>
                  <a:pt x="187639" y="3216292"/>
                </a:lnTo>
                <a:lnTo>
                  <a:pt x="188968" y="3213483"/>
                </a:lnTo>
                <a:lnTo>
                  <a:pt x="197235" y="3203651"/>
                </a:lnTo>
                <a:lnTo>
                  <a:pt x="206684" y="3203651"/>
                </a:lnTo>
                <a:lnTo>
                  <a:pt x="207231" y="3204301"/>
                </a:lnTo>
                <a:lnTo>
                  <a:pt x="226154" y="3188178"/>
                </a:lnTo>
                <a:cubicBezTo>
                  <a:pt x="229286" y="3191942"/>
                  <a:pt x="232467" y="3195660"/>
                  <a:pt x="235599" y="3199424"/>
                </a:cubicBezTo>
                <a:lnTo>
                  <a:pt x="254536" y="3178366"/>
                </a:lnTo>
                <a:lnTo>
                  <a:pt x="272221" y="3168554"/>
                </a:lnTo>
                <a:lnTo>
                  <a:pt x="272221" y="3158698"/>
                </a:lnTo>
                <a:cubicBezTo>
                  <a:pt x="269089" y="3151215"/>
                  <a:pt x="265908" y="3143733"/>
                  <a:pt x="262776" y="3136251"/>
                </a:cubicBezTo>
                <a:lnTo>
                  <a:pt x="254536" y="3125005"/>
                </a:lnTo>
                <a:lnTo>
                  <a:pt x="254536" y="3105337"/>
                </a:lnTo>
                <a:lnTo>
                  <a:pt x="254536" y="3095525"/>
                </a:lnTo>
                <a:lnTo>
                  <a:pt x="272221" y="3084279"/>
                </a:lnTo>
                <a:lnTo>
                  <a:pt x="297037" y="3095525"/>
                </a:lnTo>
                <a:lnTo>
                  <a:pt x="306482" y="3095525"/>
                </a:lnTo>
                <a:lnTo>
                  <a:pt x="331298" y="3084279"/>
                </a:lnTo>
                <a:lnTo>
                  <a:pt x="348983" y="3084279"/>
                </a:lnTo>
                <a:lnTo>
                  <a:pt x="367920" y="3084279"/>
                </a:lnTo>
                <a:cubicBezTo>
                  <a:pt x="371052" y="3091313"/>
                  <a:pt x="374232" y="3098303"/>
                  <a:pt x="377365" y="3105337"/>
                </a:cubicBezTo>
                <a:lnTo>
                  <a:pt x="385604" y="3095525"/>
                </a:lnTo>
                <a:lnTo>
                  <a:pt x="377365" y="3074422"/>
                </a:lnTo>
                <a:lnTo>
                  <a:pt x="367920" y="3064610"/>
                </a:lnTo>
                <a:lnTo>
                  <a:pt x="367920" y="3043553"/>
                </a:lnTo>
                <a:lnTo>
                  <a:pt x="385604" y="3043553"/>
                </a:lnTo>
                <a:lnTo>
                  <a:pt x="393893" y="3054754"/>
                </a:lnTo>
                <a:lnTo>
                  <a:pt x="411577" y="3064610"/>
                </a:lnTo>
                <a:lnTo>
                  <a:pt x="419865" y="3084279"/>
                </a:lnTo>
                <a:lnTo>
                  <a:pt x="419865" y="3074422"/>
                </a:lnTo>
                <a:lnTo>
                  <a:pt x="419865" y="3054754"/>
                </a:lnTo>
                <a:lnTo>
                  <a:pt x="411577" y="3043553"/>
                </a:lnTo>
                <a:lnTo>
                  <a:pt x="421385" y="3040431"/>
                </a:lnTo>
                <a:lnTo>
                  <a:pt x="423433" y="3037906"/>
                </a:lnTo>
                <a:lnTo>
                  <a:pt x="418691" y="3037906"/>
                </a:lnTo>
                <a:lnTo>
                  <a:pt x="410415" y="3037906"/>
                </a:lnTo>
                <a:lnTo>
                  <a:pt x="410415" y="3008418"/>
                </a:lnTo>
                <a:lnTo>
                  <a:pt x="418691" y="3008418"/>
                </a:lnTo>
                <a:lnTo>
                  <a:pt x="428148" y="2997173"/>
                </a:lnTo>
                <a:lnTo>
                  <a:pt x="428148" y="2987344"/>
                </a:lnTo>
                <a:lnTo>
                  <a:pt x="428148" y="2977515"/>
                </a:lnTo>
                <a:lnTo>
                  <a:pt x="418691" y="2977515"/>
                </a:lnTo>
                <a:lnTo>
                  <a:pt x="400957" y="2987344"/>
                </a:lnTo>
                <a:lnTo>
                  <a:pt x="383277" y="2997173"/>
                </a:lnTo>
                <a:lnTo>
                  <a:pt x="375002" y="2997173"/>
                </a:lnTo>
                <a:lnTo>
                  <a:pt x="365544" y="3008418"/>
                </a:lnTo>
                <a:cubicBezTo>
                  <a:pt x="362803" y="3004656"/>
                  <a:pt x="360009" y="3000935"/>
                  <a:pt x="357268" y="2997173"/>
                </a:cubicBezTo>
                <a:lnTo>
                  <a:pt x="365544" y="2987344"/>
                </a:lnTo>
                <a:lnTo>
                  <a:pt x="375002" y="2987344"/>
                </a:lnTo>
                <a:lnTo>
                  <a:pt x="391499" y="2977515"/>
                </a:lnTo>
                <a:lnTo>
                  <a:pt x="410415" y="2977515"/>
                </a:lnTo>
                <a:lnTo>
                  <a:pt x="428148" y="2956441"/>
                </a:lnTo>
                <a:lnTo>
                  <a:pt x="436424" y="2956441"/>
                </a:lnTo>
                <a:lnTo>
                  <a:pt x="445828" y="2935407"/>
                </a:lnTo>
                <a:lnTo>
                  <a:pt x="462379" y="2914333"/>
                </a:lnTo>
                <a:lnTo>
                  <a:pt x="470655" y="2904504"/>
                </a:lnTo>
                <a:lnTo>
                  <a:pt x="480113" y="2904504"/>
                </a:lnTo>
                <a:lnTo>
                  <a:pt x="498975" y="2904504"/>
                </a:lnTo>
                <a:lnTo>
                  <a:pt x="507250" y="2914333"/>
                </a:lnTo>
                <a:lnTo>
                  <a:pt x="507250" y="2904504"/>
                </a:lnTo>
                <a:cubicBezTo>
                  <a:pt x="504510" y="2897466"/>
                  <a:pt x="501715" y="2890468"/>
                  <a:pt x="498975" y="2883430"/>
                </a:cubicBezTo>
                <a:lnTo>
                  <a:pt x="516708" y="2883430"/>
                </a:lnTo>
                <a:lnTo>
                  <a:pt x="524984" y="2873600"/>
                </a:lnTo>
                <a:lnTo>
                  <a:pt x="533260" y="2873600"/>
                </a:lnTo>
                <a:lnTo>
                  <a:pt x="533260" y="2863771"/>
                </a:lnTo>
                <a:lnTo>
                  <a:pt x="550939" y="2863771"/>
                </a:lnTo>
                <a:lnTo>
                  <a:pt x="550939" y="2852526"/>
                </a:lnTo>
                <a:lnTo>
                  <a:pt x="568673" y="2863771"/>
                </a:lnTo>
                <a:lnTo>
                  <a:pt x="587588" y="2883430"/>
                </a:lnTo>
                <a:lnTo>
                  <a:pt x="587588" y="2893259"/>
                </a:lnTo>
                <a:lnTo>
                  <a:pt x="587588" y="2904504"/>
                </a:lnTo>
                <a:lnTo>
                  <a:pt x="587588" y="2925578"/>
                </a:lnTo>
                <a:lnTo>
                  <a:pt x="594682" y="2935407"/>
                </a:lnTo>
                <a:lnTo>
                  <a:pt x="604086" y="2925578"/>
                </a:lnTo>
                <a:cubicBezTo>
                  <a:pt x="606827" y="2921816"/>
                  <a:pt x="609621" y="2918095"/>
                  <a:pt x="612362" y="2914333"/>
                </a:cubicBezTo>
                <a:lnTo>
                  <a:pt x="639553" y="2893259"/>
                </a:lnTo>
                <a:lnTo>
                  <a:pt x="647829" y="2883430"/>
                </a:lnTo>
                <a:lnTo>
                  <a:pt x="660779" y="2869394"/>
                </a:lnTo>
                <a:lnTo>
                  <a:pt x="695064" y="2872185"/>
                </a:lnTo>
                <a:lnTo>
                  <a:pt x="700250" y="2871644"/>
                </a:lnTo>
                <a:lnTo>
                  <a:pt x="697410" y="2862356"/>
                </a:lnTo>
                <a:lnTo>
                  <a:pt x="671427" y="2862356"/>
                </a:lnTo>
                <a:lnTo>
                  <a:pt x="689142" y="2851120"/>
                </a:lnTo>
                <a:lnTo>
                  <a:pt x="689142" y="2808985"/>
                </a:lnTo>
                <a:lnTo>
                  <a:pt x="697410" y="2799154"/>
                </a:lnTo>
                <a:lnTo>
                  <a:pt x="732841" y="2778086"/>
                </a:lnTo>
                <a:lnTo>
                  <a:pt x="715125" y="2757019"/>
                </a:lnTo>
                <a:lnTo>
                  <a:pt x="715125" y="2735952"/>
                </a:lnTo>
                <a:lnTo>
                  <a:pt x="706858" y="2735952"/>
                </a:lnTo>
                <a:lnTo>
                  <a:pt x="706858" y="2766850"/>
                </a:lnTo>
                <a:lnTo>
                  <a:pt x="697410" y="2778086"/>
                </a:lnTo>
                <a:lnTo>
                  <a:pt x="679694" y="2799154"/>
                </a:lnTo>
                <a:lnTo>
                  <a:pt x="617101" y="2845500"/>
                </a:lnTo>
                <a:lnTo>
                  <a:pt x="617101" y="2863762"/>
                </a:lnTo>
                <a:lnTo>
                  <a:pt x="608834" y="2873593"/>
                </a:lnTo>
                <a:lnTo>
                  <a:pt x="589937" y="2863762"/>
                </a:lnTo>
                <a:lnTo>
                  <a:pt x="589937" y="2852526"/>
                </a:lnTo>
                <a:lnTo>
                  <a:pt x="572221" y="2842694"/>
                </a:lnTo>
                <a:lnTo>
                  <a:pt x="572221" y="2821627"/>
                </a:lnTo>
                <a:lnTo>
                  <a:pt x="572221" y="2799155"/>
                </a:lnTo>
                <a:lnTo>
                  <a:pt x="562773" y="2810391"/>
                </a:lnTo>
                <a:lnTo>
                  <a:pt x="545057" y="2810391"/>
                </a:lnTo>
                <a:lnTo>
                  <a:pt x="545057" y="2766852"/>
                </a:lnTo>
                <a:lnTo>
                  <a:pt x="554506" y="2757020"/>
                </a:lnTo>
                <a:lnTo>
                  <a:pt x="562773" y="2745784"/>
                </a:lnTo>
                <a:lnTo>
                  <a:pt x="580489" y="2735953"/>
                </a:lnTo>
                <a:lnTo>
                  <a:pt x="572221" y="2703650"/>
                </a:lnTo>
                <a:lnTo>
                  <a:pt x="580489" y="2682582"/>
                </a:lnTo>
                <a:lnTo>
                  <a:pt x="608834" y="2648874"/>
                </a:lnTo>
                <a:lnTo>
                  <a:pt x="617101" y="2627807"/>
                </a:lnTo>
                <a:lnTo>
                  <a:pt x="626549" y="2596908"/>
                </a:lnTo>
                <a:lnTo>
                  <a:pt x="644263" y="2585674"/>
                </a:lnTo>
                <a:cubicBezTo>
                  <a:pt x="644263" y="2585673"/>
                  <a:pt x="644262" y="2585672"/>
                  <a:pt x="644262" y="2585671"/>
                </a:cubicBezTo>
                <a:lnTo>
                  <a:pt x="635995" y="2585671"/>
                </a:lnTo>
                <a:lnTo>
                  <a:pt x="644262" y="2564604"/>
                </a:lnTo>
                <a:lnTo>
                  <a:pt x="653711" y="2554772"/>
                </a:lnTo>
                <a:lnTo>
                  <a:pt x="671427" y="2543536"/>
                </a:lnTo>
                <a:lnTo>
                  <a:pt x="689142" y="2543536"/>
                </a:lnTo>
                <a:lnTo>
                  <a:pt x="697410" y="2543536"/>
                </a:lnTo>
                <a:lnTo>
                  <a:pt x="715125" y="2554772"/>
                </a:lnTo>
                <a:lnTo>
                  <a:pt x="732841" y="2543536"/>
                </a:lnTo>
                <a:lnTo>
                  <a:pt x="742290" y="2512637"/>
                </a:lnTo>
                <a:lnTo>
                  <a:pt x="760005" y="2501401"/>
                </a:lnTo>
                <a:lnTo>
                  <a:pt x="750557" y="2491570"/>
                </a:lnTo>
                <a:lnTo>
                  <a:pt x="742290" y="2480334"/>
                </a:lnTo>
                <a:lnTo>
                  <a:pt x="732841" y="2449435"/>
                </a:lnTo>
                <a:lnTo>
                  <a:pt x="732841" y="2438199"/>
                </a:lnTo>
                <a:lnTo>
                  <a:pt x="715125" y="2428368"/>
                </a:lnTo>
                <a:lnTo>
                  <a:pt x="715125" y="2419138"/>
                </a:lnTo>
                <a:lnTo>
                  <a:pt x="707447" y="2426965"/>
                </a:lnTo>
                <a:lnTo>
                  <a:pt x="700361" y="2426965"/>
                </a:lnTo>
                <a:lnTo>
                  <a:pt x="693274" y="2410112"/>
                </a:lnTo>
                <a:lnTo>
                  <a:pt x="686188" y="2410112"/>
                </a:lnTo>
                <a:lnTo>
                  <a:pt x="677921" y="2418538"/>
                </a:lnTo>
                <a:lnTo>
                  <a:pt x="670834" y="2418538"/>
                </a:lnTo>
                <a:lnTo>
                  <a:pt x="670834" y="2410112"/>
                </a:lnTo>
                <a:lnTo>
                  <a:pt x="677921" y="2403089"/>
                </a:lnTo>
                <a:lnTo>
                  <a:pt x="686188" y="2403089"/>
                </a:lnTo>
                <a:lnTo>
                  <a:pt x="693274" y="2393258"/>
                </a:lnTo>
                <a:lnTo>
                  <a:pt x="700361" y="2393258"/>
                </a:lnTo>
                <a:lnTo>
                  <a:pt x="707447" y="2403089"/>
                </a:lnTo>
                <a:lnTo>
                  <a:pt x="715125" y="2417437"/>
                </a:lnTo>
                <a:lnTo>
                  <a:pt x="715125" y="2417132"/>
                </a:lnTo>
                <a:lnTo>
                  <a:pt x="724574" y="2407300"/>
                </a:lnTo>
                <a:lnTo>
                  <a:pt x="742290" y="2407300"/>
                </a:lnTo>
                <a:lnTo>
                  <a:pt x="742290" y="2374997"/>
                </a:lnTo>
                <a:lnTo>
                  <a:pt x="785988" y="2321626"/>
                </a:lnTo>
                <a:lnTo>
                  <a:pt x="795437" y="2310390"/>
                </a:lnTo>
                <a:lnTo>
                  <a:pt x="813153" y="2321626"/>
                </a:lnTo>
                <a:lnTo>
                  <a:pt x="821420" y="2321626"/>
                </a:lnTo>
                <a:lnTo>
                  <a:pt x="830868" y="2310390"/>
                </a:lnTo>
                <a:lnTo>
                  <a:pt x="821420" y="2289323"/>
                </a:lnTo>
                <a:lnTo>
                  <a:pt x="803704" y="2279492"/>
                </a:lnTo>
                <a:lnTo>
                  <a:pt x="795437" y="2279492"/>
                </a:lnTo>
                <a:lnTo>
                  <a:pt x="785988" y="2268256"/>
                </a:lnTo>
                <a:lnTo>
                  <a:pt x="795437" y="2258424"/>
                </a:lnTo>
                <a:lnTo>
                  <a:pt x="803704" y="2237357"/>
                </a:lnTo>
                <a:lnTo>
                  <a:pt x="803704" y="2226121"/>
                </a:lnTo>
                <a:lnTo>
                  <a:pt x="803704" y="2205053"/>
                </a:lnTo>
                <a:lnTo>
                  <a:pt x="803704" y="2195222"/>
                </a:lnTo>
                <a:lnTo>
                  <a:pt x="821420" y="2161514"/>
                </a:lnTo>
                <a:lnTo>
                  <a:pt x="813153" y="2141851"/>
                </a:lnTo>
                <a:lnTo>
                  <a:pt x="813153" y="2110952"/>
                </a:lnTo>
                <a:lnTo>
                  <a:pt x="830868" y="2078649"/>
                </a:lnTo>
                <a:lnTo>
                  <a:pt x="839136" y="2068818"/>
                </a:lnTo>
                <a:lnTo>
                  <a:pt x="839136" y="2058718"/>
                </a:lnTo>
                <a:lnTo>
                  <a:pt x="831456" y="2075843"/>
                </a:lnTo>
                <a:lnTo>
                  <a:pt x="823189" y="2087079"/>
                </a:lnTo>
                <a:lnTo>
                  <a:pt x="813740" y="2075843"/>
                </a:lnTo>
                <a:lnTo>
                  <a:pt x="823189" y="2054776"/>
                </a:lnTo>
                <a:lnTo>
                  <a:pt x="823189" y="2033708"/>
                </a:lnTo>
                <a:lnTo>
                  <a:pt x="831456" y="2033708"/>
                </a:lnTo>
                <a:lnTo>
                  <a:pt x="849172" y="2023877"/>
                </a:lnTo>
                <a:lnTo>
                  <a:pt x="849172" y="2000000"/>
                </a:lnTo>
                <a:lnTo>
                  <a:pt x="840904" y="2000000"/>
                </a:lnTo>
                <a:lnTo>
                  <a:pt x="823189" y="2012641"/>
                </a:lnTo>
                <a:lnTo>
                  <a:pt x="813740" y="2033708"/>
                </a:lnTo>
                <a:lnTo>
                  <a:pt x="813740" y="2012641"/>
                </a:lnTo>
                <a:lnTo>
                  <a:pt x="813740" y="2000000"/>
                </a:lnTo>
                <a:lnTo>
                  <a:pt x="823189" y="1990169"/>
                </a:lnTo>
                <a:lnTo>
                  <a:pt x="823189" y="1978933"/>
                </a:lnTo>
                <a:lnTo>
                  <a:pt x="831456" y="1969102"/>
                </a:lnTo>
                <a:lnTo>
                  <a:pt x="840904" y="1969102"/>
                </a:lnTo>
                <a:lnTo>
                  <a:pt x="849172" y="1957866"/>
                </a:lnTo>
                <a:lnTo>
                  <a:pt x="849172" y="1948034"/>
                </a:lnTo>
                <a:lnTo>
                  <a:pt x="858620" y="1936798"/>
                </a:lnTo>
                <a:lnTo>
                  <a:pt x="866887" y="1969102"/>
                </a:lnTo>
                <a:lnTo>
                  <a:pt x="849172" y="1969102"/>
                </a:lnTo>
                <a:lnTo>
                  <a:pt x="840904" y="1978933"/>
                </a:lnTo>
                <a:lnTo>
                  <a:pt x="849172" y="1990169"/>
                </a:lnTo>
                <a:lnTo>
                  <a:pt x="858620" y="1978933"/>
                </a:lnTo>
                <a:lnTo>
                  <a:pt x="866887" y="1969102"/>
                </a:lnTo>
                <a:lnTo>
                  <a:pt x="884603" y="1957866"/>
                </a:lnTo>
                <a:lnTo>
                  <a:pt x="893637" y="1978011"/>
                </a:lnTo>
                <a:lnTo>
                  <a:pt x="901731" y="1983144"/>
                </a:lnTo>
                <a:lnTo>
                  <a:pt x="919447" y="1962076"/>
                </a:lnTo>
                <a:lnTo>
                  <a:pt x="901731" y="1941009"/>
                </a:lnTo>
                <a:lnTo>
                  <a:pt x="884016" y="1950840"/>
                </a:lnTo>
                <a:lnTo>
                  <a:pt x="884016" y="1929773"/>
                </a:lnTo>
                <a:lnTo>
                  <a:pt x="892283" y="1908706"/>
                </a:lnTo>
                <a:lnTo>
                  <a:pt x="874567" y="1919941"/>
                </a:lnTo>
                <a:lnTo>
                  <a:pt x="866300" y="1908706"/>
                </a:lnTo>
                <a:lnTo>
                  <a:pt x="839136" y="1887638"/>
                </a:lnTo>
                <a:lnTo>
                  <a:pt x="830868" y="1865166"/>
                </a:lnTo>
                <a:lnTo>
                  <a:pt x="848584" y="1853930"/>
                </a:lnTo>
                <a:lnTo>
                  <a:pt x="866300" y="1845503"/>
                </a:lnTo>
                <a:lnTo>
                  <a:pt x="856851" y="1803369"/>
                </a:lnTo>
                <a:lnTo>
                  <a:pt x="866300" y="1793537"/>
                </a:lnTo>
                <a:lnTo>
                  <a:pt x="866300" y="1782301"/>
                </a:lnTo>
                <a:lnTo>
                  <a:pt x="884016" y="1782301"/>
                </a:lnTo>
                <a:lnTo>
                  <a:pt x="884016" y="1761234"/>
                </a:lnTo>
                <a:lnTo>
                  <a:pt x="884016" y="1749998"/>
                </a:lnTo>
                <a:lnTo>
                  <a:pt x="901731" y="1727526"/>
                </a:lnTo>
                <a:lnTo>
                  <a:pt x="901731" y="1717695"/>
                </a:lnTo>
                <a:lnTo>
                  <a:pt x="901731" y="1706459"/>
                </a:lnTo>
                <a:lnTo>
                  <a:pt x="919447" y="1696627"/>
                </a:lnTo>
                <a:lnTo>
                  <a:pt x="919447" y="1685391"/>
                </a:lnTo>
                <a:lnTo>
                  <a:pt x="919447" y="1675560"/>
                </a:lnTo>
                <a:lnTo>
                  <a:pt x="937163" y="1664324"/>
                </a:lnTo>
                <a:lnTo>
                  <a:pt x="945430" y="1654492"/>
                </a:lnTo>
                <a:lnTo>
                  <a:pt x="954879" y="1643256"/>
                </a:lnTo>
                <a:lnTo>
                  <a:pt x="945430" y="1622189"/>
                </a:lnTo>
                <a:lnTo>
                  <a:pt x="937163" y="1612358"/>
                </a:lnTo>
                <a:lnTo>
                  <a:pt x="954879" y="1591290"/>
                </a:lnTo>
                <a:lnTo>
                  <a:pt x="963146" y="1568818"/>
                </a:lnTo>
                <a:lnTo>
                  <a:pt x="980862" y="1547751"/>
                </a:lnTo>
                <a:lnTo>
                  <a:pt x="980862" y="1537920"/>
                </a:lnTo>
                <a:lnTo>
                  <a:pt x="990310" y="1528088"/>
                </a:lnTo>
                <a:lnTo>
                  <a:pt x="990310" y="1516852"/>
                </a:lnTo>
                <a:lnTo>
                  <a:pt x="1008026" y="1507021"/>
                </a:lnTo>
                <a:lnTo>
                  <a:pt x="1025742" y="1507021"/>
                </a:lnTo>
                <a:lnTo>
                  <a:pt x="1043457" y="1528088"/>
                </a:lnTo>
                <a:lnTo>
                  <a:pt x="1043457" y="1516852"/>
                </a:lnTo>
                <a:lnTo>
                  <a:pt x="1025742" y="1485953"/>
                </a:lnTo>
                <a:lnTo>
                  <a:pt x="998577" y="1485953"/>
                </a:lnTo>
                <a:lnTo>
                  <a:pt x="990310" y="1464886"/>
                </a:lnTo>
                <a:lnTo>
                  <a:pt x="990310" y="1410111"/>
                </a:lnTo>
                <a:lnTo>
                  <a:pt x="1008026" y="1400279"/>
                </a:lnTo>
                <a:lnTo>
                  <a:pt x="1026751" y="1392182"/>
                </a:lnTo>
                <a:lnTo>
                  <a:pt x="1010975" y="1383427"/>
                </a:lnTo>
                <a:lnTo>
                  <a:pt x="1020424" y="1351123"/>
                </a:lnTo>
                <a:lnTo>
                  <a:pt x="1028691" y="1341292"/>
                </a:lnTo>
                <a:lnTo>
                  <a:pt x="1038139" y="1341292"/>
                </a:lnTo>
                <a:lnTo>
                  <a:pt x="1038139" y="1351123"/>
                </a:lnTo>
                <a:lnTo>
                  <a:pt x="1028691" y="1383427"/>
                </a:lnTo>
                <a:lnTo>
                  <a:pt x="1028691" y="1391343"/>
                </a:lnTo>
                <a:lnTo>
                  <a:pt x="1034009" y="1389043"/>
                </a:lnTo>
                <a:lnTo>
                  <a:pt x="1051725" y="1367976"/>
                </a:lnTo>
                <a:lnTo>
                  <a:pt x="1051725" y="1346908"/>
                </a:lnTo>
                <a:lnTo>
                  <a:pt x="1045025" y="1321869"/>
                </a:lnTo>
                <a:lnTo>
                  <a:pt x="1038139" y="1330056"/>
                </a:lnTo>
                <a:lnTo>
                  <a:pt x="1038139" y="1341292"/>
                </a:lnTo>
                <a:lnTo>
                  <a:pt x="1028691" y="1308989"/>
                </a:lnTo>
                <a:lnTo>
                  <a:pt x="1028691" y="1299157"/>
                </a:lnTo>
                <a:lnTo>
                  <a:pt x="1038139" y="1287922"/>
                </a:lnTo>
                <a:lnTo>
                  <a:pt x="1055855" y="1278090"/>
                </a:lnTo>
                <a:lnTo>
                  <a:pt x="1055855" y="1299157"/>
                </a:lnTo>
                <a:lnTo>
                  <a:pt x="1055855" y="1300476"/>
                </a:lnTo>
                <a:lnTo>
                  <a:pt x="1061173" y="1294942"/>
                </a:lnTo>
                <a:lnTo>
                  <a:pt x="1061173" y="1283706"/>
                </a:lnTo>
                <a:lnTo>
                  <a:pt x="1078889" y="1272470"/>
                </a:lnTo>
                <a:lnTo>
                  <a:pt x="1087156" y="1283706"/>
                </a:lnTo>
                <a:lnTo>
                  <a:pt x="1087156" y="1304774"/>
                </a:lnTo>
                <a:lnTo>
                  <a:pt x="1096605" y="1325841"/>
                </a:lnTo>
                <a:lnTo>
                  <a:pt x="1122588" y="1346908"/>
                </a:lnTo>
                <a:lnTo>
                  <a:pt x="1114320" y="1316010"/>
                </a:lnTo>
                <a:lnTo>
                  <a:pt x="1122588" y="1294942"/>
                </a:lnTo>
                <a:lnTo>
                  <a:pt x="1114320" y="1240167"/>
                </a:lnTo>
                <a:lnTo>
                  <a:pt x="1104872" y="1231740"/>
                </a:lnTo>
                <a:lnTo>
                  <a:pt x="1104872" y="1220504"/>
                </a:lnTo>
                <a:lnTo>
                  <a:pt x="1132036" y="1189605"/>
                </a:lnTo>
                <a:lnTo>
                  <a:pt x="1149752" y="1199437"/>
                </a:lnTo>
                <a:lnTo>
                  <a:pt x="1167468" y="1189605"/>
                </a:lnTo>
                <a:lnTo>
                  <a:pt x="1185183" y="1178369"/>
                </a:lnTo>
                <a:lnTo>
                  <a:pt x="1185183" y="1157302"/>
                </a:lnTo>
                <a:lnTo>
                  <a:pt x="1185183" y="1147471"/>
                </a:lnTo>
                <a:lnTo>
                  <a:pt x="1175735" y="1157302"/>
                </a:lnTo>
                <a:lnTo>
                  <a:pt x="1158019" y="1157302"/>
                </a:lnTo>
                <a:lnTo>
                  <a:pt x="1132036" y="1157302"/>
                </a:lnTo>
                <a:lnTo>
                  <a:pt x="1122588" y="1147471"/>
                </a:lnTo>
                <a:lnTo>
                  <a:pt x="1122588" y="1124999"/>
                </a:lnTo>
                <a:lnTo>
                  <a:pt x="1140303" y="1103931"/>
                </a:lnTo>
                <a:lnTo>
                  <a:pt x="1140303" y="1092695"/>
                </a:lnTo>
                <a:lnTo>
                  <a:pt x="1149752" y="1082864"/>
                </a:lnTo>
                <a:lnTo>
                  <a:pt x="1185183" y="1050561"/>
                </a:lnTo>
                <a:lnTo>
                  <a:pt x="1196456" y="1023751"/>
                </a:lnTo>
                <a:lnTo>
                  <a:pt x="1181047" y="1032302"/>
                </a:lnTo>
                <a:lnTo>
                  <a:pt x="1172779" y="1053370"/>
                </a:lnTo>
                <a:lnTo>
                  <a:pt x="1155064" y="1074437"/>
                </a:lnTo>
                <a:lnTo>
                  <a:pt x="1145615" y="1064606"/>
                </a:lnTo>
                <a:lnTo>
                  <a:pt x="1155064" y="1043538"/>
                </a:lnTo>
                <a:lnTo>
                  <a:pt x="1155064" y="1032302"/>
                </a:lnTo>
                <a:lnTo>
                  <a:pt x="1172779" y="1022471"/>
                </a:lnTo>
                <a:lnTo>
                  <a:pt x="1181047" y="1011235"/>
                </a:lnTo>
                <a:lnTo>
                  <a:pt x="1190495" y="1022471"/>
                </a:lnTo>
                <a:lnTo>
                  <a:pt x="1198762" y="1011235"/>
                </a:lnTo>
                <a:lnTo>
                  <a:pt x="1198762" y="1018265"/>
                </a:lnTo>
                <a:lnTo>
                  <a:pt x="1202899" y="1008426"/>
                </a:lnTo>
                <a:lnTo>
                  <a:pt x="1193451" y="987358"/>
                </a:lnTo>
                <a:lnTo>
                  <a:pt x="1193451" y="974718"/>
                </a:lnTo>
                <a:lnTo>
                  <a:pt x="1193451" y="943819"/>
                </a:lnTo>
                <a:lnTo>
                  <a:pt x="1211166" y="932583"/>
                </a:lnTo>
                <a:lnTo>
                  <a:pt x="1212923" y="927101"/>
                </a:lnTo>
                <a:lnTo>
                  <a:pt x="1190495" y="936799"/>
                </a:lnTo>
                <a:lnTo>
                  <a:pt x="1181047" y="936799"/>
                </a:lnTo>
                <a:lnTo>
                  <a:pt x="1170418" y="967698"/>
                </a:lnTo>
                <a:lnTo>
                  <a:pt x="1152702" y="978934"/>
                </a:lnTo>
                <a:lnTo>
                  <a:pt x="1144434" y="967698"/>
                </a:lnTo>
                <a:lnTo>
                  <a:pt x="1144434" y="946631"/>
                </a:lnTo>
                <a:lnTo>
                  <a:pt x="1144434" y="936799"/>
                </a:lnTo>
                <a:lnTo>
                  <a:pt x="1134986" y="925563"/>
                </a:lnTo>
                <a:lnTo>
                  <a:pt x="1134986" y="904496"/>
                </a:lnTo>
                <a:lnTo>
                  <a:pt x="1134986" y="894664"/>
                </a:lnTo>
                <a:lnTo>
                  <a:pt x="1126719" y="870788"/>
                </a:lnTo>
                <a:lnTo>
                  <a:pt x="1134986" y="860956"/>
                </a:lnTo>
                <a:lnTo>
                  <a:pt x="1144434" y="860956"/>
                </a:lnTo>
                <a:lnTo>
                  <a:pt x="1152702" y="839889"/>
                </a:lnTo>
                <a:lnTo>
                  <a:pt x="1144434" y="828653"/>
                </a:lnTo>
                <a:lnTo>
                  <a:pt x="1144434" y="818822"/>
                </a:lnTo>
                <a:lnTo>
                  <a:pt x="1170418" y="828653"/>
                </a:lnTo>
                <a:lnTo>
                  <a:pt x="1170418" y="818822"/>
                </a:lnTo>
                <a:lnTo>
                  <a:pt x="1181047" y="807586"/>
                </a:lnTo>
                <a:lnTo>
                  <a:pt x="1190495" y="797754"/>
                </a:lnTo>
                <a:lnTo>
                  <a:pt x="1198763" y="807586"/>
                </a:lnTo>
                <a:lnTo>
                  <a:pt x="1208211" y="807586"/>
                </a:lnTo>
                <a:lnTo>
                  <a:pt x="1225927" y="797754"/>
                </a:lnTo>
                <a:lnTo>
                  <a:pt x="1216478" y="828653"/>
                </a:lnTo>
                <a:lnTo>
                  <a:pt x="1225927" y="849720"/>
                </a:lnTo>
                <a:lnTo>
                  <a:pt x="1225927" y="860956"/>
                </a:lnTo>
                <a:lnTo>
                  <a:pt x="1216478" y="882024"/>
                </a:lnTo>
                <a:lnTo>
                  <a:pt x="1222117" y="895435"/>
                </a:lnTo>
                <a:lnTo>
                  <a:pt x="1228882" y="860954"/>
                </a:lnTo>
                <a:lnTo>
                  <a:pt x="1238331" y="849718"/>
                </a:lnTo>
                <a:lnTo>
                  <a:pt x="1246598" y="860954"/>
                </a:lnTo>
                <a:lnTo>
                  <a:pt x="1256046" y="849718"/>
                </a:lnTo>
                <a:lnTo>
                  <a:pt x="1246598" y="817415"/>
                </a:lnTo>
                <a:lnTo>
                  <a:pt x="1238331" y="806179"/>
                </a:lnTo>
                <a:lnTo>
                  <a:pt x="1264314" y="785111"/>
                </a:lnTo>
                <a:lnTo>
                  <a:pt x="1273762" y="796347"/>
                </a:lnTo>
                <a:lnTo>
                  <a:pt x="1291478" y="796347"/>
                </a:lnTo>
                <a:lnTo>
                  <a:pt x="1299745" y="785111"/>
                </a:lnTo>
                <a:lnTo>
                  <a:pt x="1287098" y="748014"/>
                </a:lnTo>
                <a:lnTo>
                  <a:pt x="1280256" y="765451"/>
                </a:lnTo>
                <a:lnTo>
                  <a:pt x="1243643" y="786518"/>
                </a:lnTo>
                <a:lnTo>
                  <a:pt x="1225927" y="786518"/>
                </a:lnTo>
                <a:lnTo>
                  <a:pt x="1225927" y="776687"/>
                </a:lnTo>
                <a:lnTo>
                  <a:pt x="1234195" y="765451"/>
                </a:lnTo>
                <a:lnTo>
                  <a:pt x="1243643" y="755619"/>
                </a:lnTo>
                <a:lnTo>
                  <a:pt x="1243643" y="734552"/>
                </a:lnTo>
                <a:lnTo>
                  <a:pt x="1243643" y="723316"/>
                </a:lnTo>
                <a:lnTo>
                  <a:pt x="1251910" y="713485"/>
                </a:lnTo>
                <a:lnTo>
                  <a:pt x="1262540" y="723316"/>
                </a:lnTo>
                <a:lnTo>
                  <a:pt x="1270807" y="702249"/>
                </a:lnTo>
                <a:lnTo>
                  <a:pt x="1270807" y="681182"/>
                </a:lnTo>
                <a:lnTo>
                  <a:pt x="1280256" y="671350"/>
                </a:lnTo>
                <a:lnTo>
                  <a:pt x="1288523" y="671350"/>
                </a:lnTo>
                <a:lnTo>
                  <a:pt x="1288523" y="692417"/>
                </a:lnTo>
                <a:lnTo>
                  <a:pt x="1288523" y="723316"/>
                </a:lnTo>
                <a:lnTo>
                  <a:pt x="1291655" y="727040"/>
                </a:lnTo>
                <a:lnTo>
                  <a:pt x="1299745" y="721909"/>
                </a:lnTo>
                <a:lnTo>
                  <a:pt x="1309194" y="700842"/>
                </a:lnTo>
                <a:lnTo>
                  <a:pt x="1317311" y="678778"/>
                </a:lnTo>
                <a:lnTo>
                  <a:pt x="1296790" y="671351"/>
                </a:lnTo>
                <a:lnTo>
                  <a:pt x="1287342" y="650283"/>
                </a:lnTo>
                <a:lnTo>
                  <a:pt x="1305058" y="639047"/>
                </a:lnTo>
                <a:lnTo>
                  <a:pt x="1315687" y="616575"/>
                </a:lnTo>
                <a:lnTo>
                  <a:pt x="1323955" y="595507"/>
                </a:lnTo>
                <a:lnTo>
                  <a:pt x="1341671" y="616575"/>
                </a:lnTo>
                <a:lnTo>
                  <a:pt x="1341671" y="627811"/>
                </a:lnTo>
                <a:lnTo>
                  <a:pt x="1341671" y="650283"/>
                </a:lnTo>
                <a:lnTo>
                  <a:pt x="1329350" y="671773"/>
                </a:lnTo>
                <a:lnTo>
                  <a:pt x="1335177" y="668539"/>
                </a:lnTo>
                <a:lnTo>
                  <a:pt x="1344625" y="678370"/>
                </a:lnTo>
                <a:lnTo>
                  <a:pt x="1352892" y="700842"/>
                </a:lnTo>
                <a:lnTo>
                  <a:pt x="1362341" y="691010"/>
                </a:lnTo>
                <a:lnTo>
                  <a:pt x="1370608" y="657303"/>
                </a:lnTo>
                <a:lnTo>
                  <a:pt x="1380057" y="636235"/>
                </a:lnTo>
                <a:lnTo>
                  <a:pt x="1388324" y="606741"/>
                </a:lnTo>
                <a:lnTo>
                  <a:pt x="1388324" y="678370"/>
                </a:lnTo>
                <a:lnTo>
                  <a:pt x="1397772" y="712078"/>
                </a:lnTo>
                <a:lnTo>
                  <a:pt x="1397772" y="785111"/>
                </a:lnTo>
                <a:lnTo>
                  <a:pt x="1415488" y="796347"/>
                </a:lnTo>
                <a:lnTo>
                  <a:pt x="1423755" y="754213"/>
                </a:lnTo>
                <a:lnTo>
                  <a:pt x="1433204" y="700842"/>
                </a:lnTo>
                <a:lnTo>
                  <a:pt x="1423755" y="678370"/>
                </a:lnTo>
                <a:lnTo>
                  <a:pt x="1433204" y="647471"/>
                </a:lnTo>
                <a:lnTo>
                  <a:pt x="1441471" y="626404"/>
                </a:lnTo>
                <a:lnTo>
                  <a:pt x="1447965" y="621703"/>
                </a:lnTo>
                <a:lnTo>
                  <a:pt x="1447965" y="616574"/>
                </a:lnTo>
                <a:lnTo>
                  <a:pt x="1447965" y="606743"/>
                </a:lnTo>
                <a:lnTo>
                  <a:pt x="1447965" y="595507"/>
                </a:lnTo>
                <a:lnTo>
                  <a:pt x="1457647" y="614695"/>
                </a:lnTo>
                <a:lnTo>
                  <a:pt x="1468635" y="606741"/>
                </a:lnTo>
                <a:lnTo>
                  <a:pt x="1468635" y="585674"/>
                </a:lnTo>
                <a:lnTo>
                  <a:pt x="1459386" y="565048"/>
                </a:lnTo>
                <a:lnTo>
                  <a:pt x="1458594" y="564609"/>
                </a:lnTo>
                <a:lnTo>
                  <a:pt x="1449145" y="553373"/>
                </a:lnTo>
                <a:lnTo>
                  <a:pt x="1466861" y="553373"/>
                </a:lnTo>
                <a:lnTo>
                  <a:pt x="1476307" y="564606"/>
                </a:lnTo>
                <a:lnTo>
                  <a:pt x="1476903" y="564606"/>
                </a:lnTo>
                <a:lnTo>
                  <a:pt x="1504067" y="585674"/>
                </a:lnTo>
                <a:lnTo>
                  <a:pt x="1530050" y="606741"/>
                </a:lnTo>
                <a:lnTo>
                  <a:pt x="1512334" y="542134"/>
                </a:lnTo>
                <a:lnTo>
                  <a:pt x="1486351" y="530898"/>
                </a:lnTo>
                <a:lnTo>
                  <a:pt x="1459187" y="509831"/>
                </a:lnTo>
                <a:lnTo>
                  <a:pt x="1459187" y="488764"/>
                </a:lnTo>
                <a:lnTo>
                  <a:pt x="1476903" y="467696"/>
                </a:lnTo>
                <a:lnTo>
                  <a:pt x="1486859" y="482219"/>
                </a:lnTo>
                <a:cubicBezTo>
                  <a:pt x="1489615" y="482921"/>
                  <a:pt x="1489390" y="473627"/>
                  <a:pt x="1493439" y="471909"/>
                </a:cubicBezTo>
                <a:lnTo>
                  <a:pt x="1511154" y="471909"/>
                </a:lnTo>
                <a:lnTo>
                  <a:pt x="1528870" y="462078"/>
                </a:lnTo>
                <a:lnTo>
                  <a:pt x="1538318" y="450842"/>
                </a:lnTo>
                <a:lnTo>
                  <a:pt x="1546586" y="450842"/>
                </a:lnTo>
                <a:lnTo>
                  <a:pt x="1546586" y="471909"/>
                </a:lnTo>
                <a:lnTo>
                  <a:pt x="1573750" y="483145"/>
                </a:lnTo>
                <a:lnTo>
                  <a:pt x="1582017" y="462078"/>
                </a:lnTo>
                <a:lnTo>
                  <a:pt x="1591466" y="450842"/>
                </a:lnTo>
                <a:lnTo>
                  <a:pt x="1617449" y="450842"/>
                </a:lnTo>
                <a:lnTo>
                  <a:pt x="1635165" y="462078"/>
                </a:lnTo>
                <a:lnTo>
                  <a:pt x="1635165" y="483145"/>
                </a:lnTo>
                <a:lnTo>
                  <a:pt x="1652880" y="504213"/>
                </a:lnTo>
                <a:lnTo>
                  <a:pt x="1670596" y="504213"/>
                </a:lnTo>
                <a:lnTo>
                  <a:pt x="1680044" y="492977"/>
                </a:lnTo>
                <a:lnTo>
                  <a:pt x="1680044" y="471909"/>
                </a:lnTo>
                <a:lnTo>
                  <a:pt x="1670596" y="441010"/>
                </a:lnTo>
                <a:lnTo>
                  <a:pt x="1662329" y="429775"/>
                </a:lnTo>
                <a:lnTo>
                  <a:pt x="1662329" y="403091"/>
                </a:lnTo>
                <a:lnTo>
                  <a:pt x="1654649" y="403091"/>
                </a:lnTo>
                <a:lnTo>
                  <a:pt x="1645200" y="382023"/>
                </a:lnTo>
                <a:lnTo>
                  <a:pt x="1627484" y="393259"/>
                </a:lnTo>
                <a:lnTo>
                  <a:pt x="1627484" y="372192"/>
                </a:lnTo>
                <a:lnTo>
                  <a:pt x="1636933" y="360956"/>
                </a:lnTo>
                <a:lnTo>
                  <a:pt x="1645200" y="339889"/>
                </a:lnTo>
                <a:lnTo>
                  <a:pt x="1654649" y="339889"/>
                </a:lnTo>
                <a:lnTo>
                  <a:pt x="1662916" y="339889"/>
                </a:lnTo>
                <a:lnTo>
                  <a:pt x="1662916" y="318821"/>
                </a:lnTo>
                <a:lnTo>
                  <a:pt x="1654649" y="297754"/>
                </a:lnTo>
                <a:lnTo>
                  <a:pt x="1662916" y="297754"/>
                </a:lnTo>
                <a:lnTo>
                  <a:pt x="1672364" y="318821"/>
                </a:lnTo>
                <a:lnTo>
                  <a:pt x="1680632" y="328653"/>
                </a:lnTo>
                <a:lnTo>
                  <a:pt x="1690080" y="351125"/>
                </a:lnTo>
                <a:lnTo>
                  <a:pt x="1680632" y="360956"/>
                </a:lnTo>
                <a:lnTo>
                  <a:pt x="1672364" y="382023"/>
                </a:lnTo>
                <a:lnTo>
                  <a:pt x="1672364" y="387581"/>
                </a:lnTo>
                <a:lnTo>
                  <a:pt x="1697760" y="366572"/>
                </a:lnTo>
                <a:lnTo>
                  <a:pt x="1706028" y="335674"/>
                </a:lnTo>
                <a:lnTo>
                  <a:pt x="1715476" y="314606"/>
                </a:lnTo>
                <a:lnTo>
                  <a:pt x="1715476" y="282303"/>
                </a:lnTo>
                <a:lnTo>
                  <a:pt x="1713972" y="279172"/>
                </a:lnTo>
                <a:lnTo>
                  <a:pt x="1707794" y="286518"/>
                </a:lnTo>
                <a:lnTo>
                  <a:pt x="1707794" y="297753"/>
                </a:lnTo>
                <a:lnTo>
                  <a:pt x="1698347" y="297753"/>
                </a:lnTo>
                <a:lnTo>
                  <a:pt x="1680631" y="286518"/>
                </a:lnTo>
                <a:lnTo>
                  <a:pt x="1680631" y="265451"/>
                </a:lnTo>
                <a:lnTo>
                  <a:pt x="1672363" y="255619"/>
                </a:lnTo>
                <a:lnTo>
                  <a:pt x="1680631" y="255619"/>
                </a:lnTo>
                <a:lnTo>
                  <a:pt x="1690079" y="255619"/>
                </a:lnTo>
                <a:lnTo>
                  <a:pt x="1706723" y="261917"/>
                </a:lnTo>
                <a:lnTo>
                  <a:pt x="1715476" y="252809"/>
                </a:lnTo>
                <a:lnTo>
                  <a:pt x="1733192" y="252809"/>
                </a:lnTo>
                <a:lnTo>
                  <a:pt x="1733192" y="241573"/>
                </a:lnTo>
                <a:lnTo>
                  <a:pt x="1733192" y="219101"/>
                </a:lnTo>
                <a:lnTo>
                  <a:pt x="1726692" y="215494"/>
                </a:lnTo>
                <a:lnTo>
                  <a:pt x="1726692" y="223315"/>
                </a:lnTo>
                <a:lnTo>
                  <a:pt x="1716062" y="213484"/>
                </a:lnTo>
                <a:lnTo>
                  <a:pt x="1716062" y="209594"/>
                </a:lnTo>
                <a:lnTo>
                  <a:pt x="1715476" y="209269"/>
                </a:lnTo>
                <a:lnTo>
                  <a:pt x="1715476" y="188202"/>
                </a:lnTo>
                <a:lnTo>
                  <a:pt x="1715476" y="157303"/>
                </a:lnTo>
                <a:lnTo>
                  <a:pt x="1733192" y="147472"/>
                </a:lnTo>
                <a:lnTo>
                  <a:pt x="1750907" y="157303"/>
                </a:lnTo>
                <a:lnTo>
                  <a:pt x="1768623" y="168539"/>
                </a:lnTo>
                <a:lnTo>
                  <a:pt x="1776891" y="176966"/>
                </a:lnTo>
                <a:lnTo>
                  <a:pt x="1786339" y="168539"/>
                </a:lnTo>
                <a:lnTo>
                  <a:pt x="1786339" y="147472"/>
                </a:lnTo>
                <a:lnTo>
                  <a:pt x="1804055" y="147472"/>
                </a:lnTo>
                <a:lnTo>
                  <a:pt x="1830038" y="147472"/>
                </a:lnTo>
                <a:lnTo>
                  <a:pt x="1839486" y="147472"/>
                </a:lnTo>
                <a:lnTo>
                  <a:pt x="1839486" y="176966"/>
                </a:lnTo>
                <a:lnTo>
                  <a:pt x="1812322" y="219101"/>
                </a:lnTo>
                <a:lnTo>
                  <a:pt x="1804055" y="241573"/>
                </a:lnTo>
                <a:lnTo>
                  <a:pt x="1812322" y="273876"/>
                </a:lnTo>
                <a:lnTo>
                  <a:pt x="1812322" y="303370"/>
                </a:lnTo>
                <a:lnTo>
                  <a:pt x="1830038" y="345505"/>
                </a:lnTo>
                <a:lnTo>
                  <a:pt x="1830038" y="377808"/>
                </a:lnTo>
                <a:lnTo>
                  <a:pt x="1847754" y="377808"/>
                </a:lnTo>
                <a:lnTo>
                  <a:pt x="1857202" y="366572"/>
                </a:lnTo>
                <a:lnTo>
                  <a:pt x="1857202" y="335674"/>
                </a:lnTo>
                <a:lnTo>
                  <a:pt x="1857202" y="293539"/>
                </a:lnTo>
                <a:lnTo>
                  <a:pt x="1865469" y="273876"/>
                </a:lnTo>
                <a:lnTo>
                  <a:pt x="1883185" y="231741"/>
                </a:lnTo>
                <a:lnTo>
                  <a:pt x="1883185" y="168539"/>
                </a:lnTo>
                <a:lnTo>
                  <a:pt x="1900901" y="105337"/>
                </a:lnTo>
                <a:lnTo>
                  <a:pt x="1910349" y="84270"/>
                </a:lnTo>
                <a:lnTo>
                  <a:pt x="1928065" y="94101"/>
                </a:lnTo>
                <a:lnTo>
                  <a:pt x="1936332" y="126404"/>
                </a:lnTo>
                <a:lnTo>
                  <a:pt x="1936332" y="147472"/>
                </a:lnTo>
                <a:lnTo>
                  <a:pt x="1954048" y="188202"/>
                </a:lnTo>
                <a:lnTo>
                  <a:pt x="1963496" y="176966"/>
                </a:lnTo>
                <a:lnTo>
                  <a:pt x="1972945" y="157303"/>
                </a:lnTo>
                <a:lnTo>
                  <a:pt x="1963496" y="136236"/>
                </a:lnTo>
                <a:lnTo>
                  <a:pt x="1945781" y="84270"/>
                </a:lnTo>
                <a:lnTo>
                  <a:pt x="1954048" y="61798"/>
                </a:lnTo>
                <a:lnTo>
                  <a:pt x="1963496" y="42135"/>
                </a:lnTo>
                <a:lnTo>
                  <a:pt x="1972945" y="42135"/>
                </a:lnTo>
                <a:lnTo>
                  <a:pt x="1990661" y="21067"/>
                </a:lnTo>
                <a:lnTo>
                  <a:pt x="2016644" y="9832"/>
                </a:lnTo>
                <a:lnTo>
                  <a:pt x="2034359" y="9832"/>
                </a:lnTo>
                <a:lnTo>
                  <a:pt x="2079239" y="21067"/>
                </a:lnTo>
                <a:lnTo>
                  <a:pt x="2079239" y="30899"/>
                </a:lnTo>
                <a:lnTo>
                  <a:pt x="2069791" y="51966"/>
                </a:lnTo>
                <a:lnTo>
                  <a:pt x="2052075" y="73034"/>
                </a:lnTo>
                <a:lnTo>
                  <a:pt x="2043808" y="94101"/>
                </a:lnTo>
                <a:lnTo>
                  <a:pt x="2061524" y="94101"/>
                </a:lnTo>
                <a:lnTo>
                  <a:pt x="2079239" y="94101"/>
                </a:lnTo>
                <a:lnTo>
                  <a:pt x="2079239" y="115168"/>
                </a:lnTo>
                <a:lnTo>
                  <a:pt x="2079239" y="136236"/>
                </a:lnTo>
                <a:lnTo>
                  <a:pt x="2105222" y="126404"/>
                </a:lnTo>
                <a:lnTo>
                  <a:pt x="2105222" y="94101"/>
                </a:lnTo>
                <a:lnTo>
                  <a:pt x="2105222" y="51966"/>
                </a:lnTo>
                <a:lnTo>
                  <a:pt x="2105222" y="30899"/>
                </a:lnTo>
                <a:close/>
              </a:path>
            </a:pathLst>
          </a:custGeom>
          <a:solidFill>
            <a:schemeClr val="bg1">
              <a:lumMod val="75000"/>
              <a:alpha val="75000"/>
            </a:schemeClr>
          </a:solidFill>
          <a:ln w="6350">
            <a:noFill/>
          </a:ln>
        </p:spPr>
        <p:txBody>
          <a:bodyPr vert="eaVert" wrap="none" lIns="85966" tIns="42982" rIns="85966" bIns="42982" anchor="ctr"/>
          <a:lstStyle/>
          <a:p>
            <a:pPr marL="0" marR="0" lvl="0" indent="0" algn="l" defTabSz="8585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745E419-E506-AD93-E1E8-AA8F4641B644}"/>
              </a:ext>
            </a:extLst>
          </p:cNvPr>
          <p:cNvGrpSpPr/>
          <p:nvPr/>
        </p:nvGrpSpPr>
        <p:grpSpPr>
          <a:xfrm>
            <a:off x="7993461" y="1089268"/>
            <a:ext cx="4002087" cy="5115719"/>
            <a:chOff x="7993461" y="1089268"/>
            <a:chExt cx="4002087" cy="5115719"/>
          </a:xfrm>
          <a:effectLst/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EFAF970-B946-6A6E-D6CE-787370139581}"/>
                </a:ext>
              </a:extLst>
            </p:cNvPr>
            <p:cNvSpPr/>
            <p:nvPr/>
          </p:nvSpPr>
          <p:spPr>
            <a:xfrm>
              <a:off x="8038704" y="5828749"/>
              <a:ext cx="166688" cy="185738"/>
            </a:xfrm>
            <a:custGeom>
              <a:avLst/>
              <a:gdLst>
                <a:gd name="connsiteX0" fmla="*/ 0 w 166688"/>
                <a:gd name="connsiteY0" fmla="*/ 178594 h 185738"/>
                <a:gd name="connsiteX1" fmla="*/ 152400 w 166688"/>
                <a:gd name="connsiteY1" fmla="*/ 185738 h 185738"/>
                <a:gd name="connsiteX2" fmla="*/ 166688 w 166688"/>
                <a:gd name="connsiteY2" fmla="*/ 0 h 185738"/>
                <a:gd name="connsiteX3" fmla="*/ 0 w 166688"/>
                <a:gd name="connsiteY3" fmla="*/ 178594 h 185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688" h="185738">
                  <a:moveTo>
                    <a:pt x="0" y="178594"/>
                  </a:moveTo>
                  <a:lnTo>
                    <a:pt x="152400" y="185738"/>
                  </a:lnTo>
                  <a:lnTo>
                    <a:pt x="166688" y="0"/>
                  </a:lnTo>
                  <a:lnTo>
                    <a:pt x="0" y="1785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200" b="1" i="0" u="none" strike="noStrike" kern="1200" cap="none" spc="0" normalizeH="0" baseline="0" noProof="0" err="1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510C7B6-15EA-3537-FE2A-22F66C0E6ACF}"/>
                </a:ext>
              </a:extLst>
            </p:cNvPr>
            <p:cNvGrpSpPr/>
            <p:nvPr/>
          </p:nvGrpSpPr>
          <p:grpSpPr>
            <a:xfrm>
              <a:off x="7993461" y="1089268"/>
              <a:ext cx="4002087" cy="5115719"/>
              <a:chOff x="7993461" y="1089268"/>
              <a:chExt cx="4002087" cy="5115719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0FE12332-8897-A97A-C2C0-A83A32A9C530}"/>
                  </a:ext>
                </a:extLst>
              </p:cNvPr>
              <p:cNvSpPr/>
              <p:nvPr/>
            </p:nvSpPr>
            <p:spPr>
              <a:xfrm>
                <a:off x="9172973" y="2887600"/>
                <a:ext cx="444500" cy="365125"/>
              </a:xfrm>
              <a:custGeom>
                <a:avLst/>
                <a:gdLst>
                  <a:gd name="connsiteX0" fmla="*/ 44450 w 631825"/>
                  <a:gd name="connsiteY0" fmla="*/ 180975 h 342900"/>
                  <a:gd name="connsiteX1" fmla="*/ 298450 w 631825"/>
                  <a:gd name="connsiteY1" fmla="*/ 342900 h 342900"/>
                  <a:gd name="connsiteX2" fmla="*/ 631825 w 631825"/>
                  <a:gd name="connsiteY2" fmla="*/ 120650 h 342900"/>
                  <a:gd name="connsiteX3" fmla="*/ 231775 w 631825"/>
                  <a:gd name="connsiteY3" fmla="*/ 0 h 342900"/>
                  <a:gd name="connsiteX4" fmla="*/ 0 w 631825"/>
                  <a:gd name="connsiteY4" fmla="*/ 149225 h 342900"/>
                  <a:gd name="connsiteX5" fmla="*/ 44450 w 631825"/>
                  <a:gd name="connsiteY5" fmla="*/ 180975 h 342900"/>
                  <a:gd name="connsiteX0" fmla="*/ 44450 w 631825"/>
                  <a:gd name="connsiteY0" fmla="*/ 180975 h 342900"/>
                  <a:gd name="connsiteX1" fmla="*/ 441325 w 631825"/>
                  <a:gd name="connsiteY1" fmla="*/ 342900 h 342900"/>
                  <a:gd name="connsiteX2" fmla="*/ 631825 w 631825"/>
                  <a:gd name="connsiteY2" fmla="*/ 120650 h 342900"/>
                  <a:gd name="connsiteX3" fmla="*/ 231775 w 631825"/>
                  <a:gd name="connsiteY3" fmla="*/ 0 h 342900"/>
                  <a:gd name="connsiteX4" fmla="*/ 0 w 631825"/>
                  <a:gd name="connsiteY4" fmla="*/ 149225 h 342900"/>
                  <a:gd name="connsiteX5" fmla="*/ 44450 w 631825"/>
                  <a:gd name="connsiteY5" fmla="*/ 180975 h 342900"/>
                  <a:gd name="connsiteX0" fmla="*/ 44450 w 565150"/>
                  <a:gd name="connsiteY0" fmla="*/ 180975 h 342900"/>
                  <a:gd name="connsiteX1" fmla="*/ 441325 w 565150"/>
                  <a:gd name="connsiteY1" fmla="*/ 342900 h 342900"/>
                  <a:gd name="connsiteX2" fmla="*/ 565150 w 565150"/>
                  <a:gd name="connsiteY2" fmla="*/ 92075 h 342900"/>
                  <a:gd name="connsiteX3" fmla="*/ 231775 w 565150"/>
                  <a:gd name="connsiteY3" fmla="*/ 0 h 342900"/>
                  <a:gd name="connsiteX4" fmla="*/ 0 w 565150"/>
                  <a:gd name="connsiteY4" fmla="*/ 149225 h 342900"/>
                  <a:gd name="connsiteX5" fmla="*/ 44450 w 565150"/>
                  <a:gd name="connsiteY5" fmla="*/ 180975 h 342900"/>
                  <a:gd name="connsiteX0" fmla="*/ 44450 w 565150"/>
                  <a:gd name="connsiteY0" fmla="*/ 203200 h 365125"/>
                  <a:gd name="connsiteX1" fmla="*/ 441325 w 565150"/>
                  <a:gd name="connsiteY1" fmla="*/ 365125 h 365125"/>
                  <a:gd name="connsiteX2" fmla="*/ 565150 w 565150"/>
                  <a:gd name="connsiteY2" fmla="*/ 114300 h 365125"/>
                  <a:gd name="connsiteX3" fmla="*/ 288925 w 565150"/>
                  <a:gd name="connsiteY3" fmla="*/ 0 h 365125"/>
                  <a:gd name="connsiteX4" fmla="*/ 0 w 565150"/>
                  <a:gd name="connsiteY4" fmla="*/ 171450 h 365125"/>
                  <a:gd name="connsiteX5" fmla="*/ 44450 w 565150"/>
                  <a:gd name="connsiteY5" fmla="*/ 203200 h 365125"/>
                  <a:gd name="connsiteX0" fmla="*/ 244475 w 565150"/>
                  <a:gd name="connsiteY0" fmla="*/ 349250 h 365125"/>
                  <a:gd name="connsiteX1" fmla="*/ 441325 w 565150"/>
                  <a:gd name="connsiteY1" fmla="*/ 365125 h 365125"/>
                  <a:gd name="connsiteX2" fmla="*/ 565150 w 565150"/>
                  <a:gd name="connsiteY2" fmla="*/ 114300 h 365125"/>
                  <a:gd name="connsiteX3" fmla="*/ 288925 w 565150"/>
                  <a:gd name="connsiteY3" fmla="*/ 0 h 365125"/>
                  <a:gd name="connsiteX4" fmla="*/ 0 w 565150"/>
                  <a:gd name="connsiteY4" fmla="*/ 171450 h 365125"/>
                  <a:gd name="connsiteX5" fmla="*/ 244475 w 565150"/>
                  <a:gd name="connsiteY5" fmla="*/ 349250 h 365125"/>
                  <a:gd name="connsiteX0" fmla="*/ 123825 w 444500"/>
                  <a:gd name="connsiteY0" fmla="*/ 349250 h 365125"/>
                  <a:gd name="connsiteX1" fmla="*/ 320675 w 444500"/>
                  <a:gd name="connsiteY1" fmla="*/ 365125 h 365125"/>
                  <a:gd name="connsiteX2" fmla="*/ 444500 w 444500"/>
                  <a:gd name="connsiteY2" fmla="*/ 114300 h 365125"/>
                  <a:gd name="connsiteX3" fmla="*/ 168275 w 444500"/>
                  <a:gd name="connsiteY3" fmla="*/ 0 h 365125"/>
                  <a:gd name="connsiteX4" fmla="*/ 0 w 444500"/>
                  <a:gd name="connsiteY4" fmla="*/ 304800 h 365125"/>
                  <a:gd name="connsiteX5" fmla="*/ 123825 w 444500"/>
                  <a:gd name="connsiteY5" fmla="*/ 349250 h 365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4500" h="365125">
                    <a:moveTo>
                      <a:pt x="123825" y="349250"/>
                    </a:moveTo>
                    <a:lnTo>
                      <a:pt x="320675" y="365125"/>
                    </a:lnTo>
                    <a:lnTo>
                      <a:pt x="444500" y="114300"/>
                    </a:lnTo>
                    <a:lnTo>
                      <a:pt x="168275" y="0"/>
                    </a:lnTo>
                    <a:lnTo>
                      <a:pt x="0" y="304800"/>
                    </a:lnTo>
                    <a:lnTo>
                      <a:pt x="123825" y="3492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A5BEFBD-7B21-B236-0CB7-D3A1E013BED8}"/>
                  </a:ext>
                </a:extLst>
              </p:cNvPr>
              <p:cNvSpPr/>
              <p:nvPr/>
            </p:nvSpPr>
            <p:spPr>
              <a:xfrm>
                <a:off x="8763398" y="3697225"/>
                <a:ext cx="323850" cy="314325"/>
              </a:xfrm>
              <a:custGeom>
                <a:avLst/>
                <a:gdLst>
                  <a:gd name="connsiteX0" fmla="*/ 44450 w 631825"/>
                  <a:gd name="connsiteY0" fmla="*/ 180975 h 342900"/>
                  <a:gd name="connsiteX1" fmla="*/ 298450 w 631825"/>
                  <a:gd name="connsiteY1" fmla="*/ 342900 h 342900"/>
                  <a:gd name="connsiteX2" fmla="*/ 631825 w 631825"/>
                  <a:gd name="connsiteY2" fmla="*/ 120650 h 342900"/>
                  <a:gd name="connsiteX3" fmla="*/ 231775 w 631825"/>
                  <a:gd name="connsiteY3" fmla="*/ 0 h 342900"/>
                  <a:gd name="connsiteX4" fmla="*/ 0 w 631825"/>
                  <a:gd name="connsiteY4" fmla="*/ 149225 h 342900"/>
                  <a:gd name="connsiteX5" fmla="*/ 44450 w 631825"/>
                  <a:gd name="connsiteY5" fmla="*/ 180975 h 342900"/>
                  <a:gd name="connsiteX0" fmla="*/ 44450 w 631825"/>
                  <a:gd name="connsiteY0" fmla="*/ 180975 h 342900"/>
                  <a:gd name="connsiteX1" fmla="*/ 441325 w 631825"/>
                  <a:gd name="connsiteY1" fmla="*/ 342900 h 342900"/>
                  <a:gd name="connsiteX2" fmla="*/ 631825 w 631825"/>
                  <a:gd name="connsiteY2" fmla="*/ 120650 h 342900"/>
                  <a:gd name="connsiteX3" fmla="*/ 231775 w 631825"/>
                  <a:gd name="connsiteY3" fmla="*/ 0 h 342900"/>
                  <a:gd name="connsiteX4" fmla="*/ 0 w 631825"/>
                  <a:gd name="connsiteY4" fmla="*/ 149225 h 342900"/>
                  <a:gd name="connsiteX5" fmla="*/ 44450 w 631825"/>
                  <a:gd name="connsiteY5" fmla="*/ 180975 h 342900"/>
                  <a:gd name="connsiteX0" fmla="*/ 44450 w 565150"/>
                  <a:gd name="connsiteY0" fmla="*/ 180975 h 342900"/>
                  <a:gd name="connsiteX1" fmla="*/ 441325 w 565150"/>
                  <a:gd name="connsiteY1" fmla="*/ 342900 h 342900"/>
                  <a:gd name="connsiteX2" fmla="*/ 565150 w 565150"/>
                  <a:gd name="connsiteY2" fmla="*/ 92075 h 342900"/>
                  <a:gd name="connsiteX3" fmla="*/ 231775 w 565150"/>
                  <a:gd name="connsiteY3" fmla="*/ 0 h 342900"/>
                  <a:gd name="connsiteX4" fmla="*/ 0 w 565150"/>
                  <a:gd name="connsiteY4" fmla="*/ 149225 h 342900"/>
                  <a:gd name="connsiteX5" fmla="*/ 44450 w 565150"/>
                  <a:gd name="connsiteY5" fmla="*/ 180975 h 342900"/>
                  <a:gd name="connsiteX0" fmla="*/ 44450 w 565150"/>
                  <a:gd name="connsiteY0" fmla="*/ 203200 h 365125"/>
                  <a:gd name="connsiteX1" fmla="*/ 441325 w 565150"/>
                  <a:gd name="connsiteY1" fmla="*/ 365125 h 365125"/>
                  <a:gd name="connsiteX2" fmla="*/ 565150 w 565150"/>
                  <a:gd name="connsiteY2" fmla="*/ 114300 h 365125"/>
                  <a:gd name="connsiteX3" fmla="*/ 288925 w 565150"/>
                  <a:gd name="connsiteY3" fmla="*/ 0 h 365125"/>
                  <a:gd name="connsiteX4" fmla="*/ 0 w 565150"/>
                  <a:gd name="connsiteY4" fmla="*/ 171450 h 365125"/>
                  <a:gd name="connsiteX5" fmla="*/ 44450 w 565150"/>
                  <a:gd name="connsiteY5" fmla="*/ 203200 h 365125"/>
                  <a:gd name="connsiteX0" fmla="*/ 244475 w 565150"/>
                  <a:gd name="connsiteY0" fmla="*/ 349250 h 365125"/>
                  <a:gd name="connsiteX1" fmla="*/ 441325 w 565150"/>
                  <a:gd name="connsiteY1" fmla="*/ 365125 h 365125"/>
                  <a:gd name="connsiteX2" fmla="*/ 565150 w 565150"/>
                  <a:gd name="connsiteY2" fmla="*/ 114300 h 365125"/>
                  <a:gd name="connsiteX3" fmla="*/ 288925 w 565150"/>
                  <a:gd name="connsiteY3" fmla="*/ 0 h 365125"/>
                  <a:gd name="connsiteX4" fmla="*/ 0 w 565150"/>
                  <a:gd name="connsiteY4" fmla="*/ 171450 h 365125"/>
                  <a:gd name="connsiteX5" fmla="*/ 244475 w 565150"/>
                  <a:gd name="connsiteY5" fmla="*/ 349250 h 365125"/>
                  <a:gd name="connsiteX0" fmla="*/ 123825 w 444500"/>
                  <a:gd name="connsiteY0" fmla="*/ 349250 h 365125"/>
                  <a:gd name="connsiteX1" fmla="*/ 320675 w 444500"/>
                  <a:gd name="connsiteY1" fmla="*/ 365125 h 365125"/>
                  <a:gd name="connsiteX2" fmla="*/ 444500 w 444500"/>
                  <a:gd name="connsiteY2" fmla="*/ 114300 h 365125"/>
                  <a:gd name="connsiteX3" fmla="*/ 168275 w 444500"/>
                  <a:gd name="connsiteY3" fmla="*/ 0 h 365125"/>
                  <a:gd name="connsiteX4" fmla="*/ 0 w 444500"/>
                  <a:gd name="connsiteY4" fmla="*/ 304800 h 365125"/>
                  <a:gd name="connsiteX5" fmla="*/ 123825 w 444500"/>
                  <a:gd name="connsiteY5" fmla="*/ 349250 h 365125"/>
                  <a:gd name="connsiteX0" fmla="*/ 123825 w 444500"/>
                  <a:gd name="connsiteY0" fmla="*/ 349250 h 393700"/>
                  <a:gd name="connsiteX1" fmla="*/ 241300 w 444500"/>
                  <a:gd name="connsiteY1" fmla="*/ 393700 h 393700"/>
                  <a:gd name="connsiteX2" fmla="*/ 444500 w 444500"/>
                  <a:gd name="connsiteY2" fmla="*/ 114300 h 393700"/>
                  <a:gd name="connsiteX3" fmla="*/ 168275 w 444500"/>
                  <a:gd name="connsiteY3" fmla="*/ 0 h 393700"/>
                  <a:gd name="connsiteX4" fmla="*/ 0 w 444500"/>
                  <a:gd name="connsiteY4" fmla="*/ 304800 h 393700"/>
                  <a:gd name="connsiteX5" fmla="*/ 123825 w 444500"/>
                  <a:gd name="connsiteY5" fmla="*/ 349250 h 393700"/>
                  <a:gd name="connsiteX0" fmla="*/ 123825 w 422275"/>
                  <a:gd name="connsiteY0" fmla="*/ 349250 h 393700"/>
                  <a:gd name="connsiteX1" fmla="*/ 241300 w 422275"/>
                  <a:gd name="connsiteY1" fmla="*/ 393700 h 393700"/>
                  <a:gd name="connsiteX2" fmla="*/ 422275 w 422275"/>
                  <a:gd name="connsiteY2" fmla="*/ 104775 h 393700"/>
                  <a:gd name="connsiteX3" fmla="*/ 168275 w 422275"/>
                  <a:gd name="connsiteY3" fmla="*/ 0 h 393700"/>
                  <a:gd name="connsiteX4" fmla="*/ 0 w 422275"/>
                  <a:gd name="connsiteY4" fmla="*/ 304800 h 393700"/>
                  <a:gd name="connsiteX5" fmla="*/ 123825 w 422275"/>
                  <a:gd name="connsiteY5" fmla="*/ 349250 h 393700"/>
                  <a:gd name="connsiteX0" fmla="*/ 123825 w 422275"/>
                  <a:gd name="connsiteY0" fmla="*/ 273050 h 317500"/>
                  <a:gd name="connsiteX1" fmla="*/ 241300 w 422275"/>
                  <a:gd name="connsiteY1" fmla="*/ 317500 h 317500"/>
                  <a:gd name="connsiteX2" fmla="*/ 422275 w 422275"/>
                  <a:gd name="connsiteY2" fmla="*/ 28575 h 317500"/>
                  <a:gd name="connsiteX3" fmla="*/ 203200 w 422275"/>
                  <a:gd name="connsiteY3" fmla="*/ 0 h 317500"/>
                  <a:gd name="connsiteX4" fmla="*/ 0 w 422275"/>
                  <a:gd name="connsiteY4" fmla="*/ 228600 h 317500"/>
                  <a:gd name="connsiteX5" fmla="*/ 123825 w 422275"/>
                  <a:gd name="connsiteY5" fmla="*/ 273050 h 317500"/>
                  <a:gd name="connsiteX0" fmla="*/ 19050 w 317500"/>
                  <a:gd name="connsiteY0" fmla="*/ 273050 h 317500"/>
                  <a:gd name="connsiteX1" fmla="*/ 136525 w 317500"/>
                  <a:gd name="connsiteY1" fmla="*/ 317500 h 317500"/>
                  <a:gd name="connsiteX2" fmla="*/ 317500 w 317500"/>
                  <a:gd name="connsiteY2" fmla="*/ 28575 h 317500"/>
                  <a:gd name="connsiteX3" fmla="*/ 98425 w 317500"/>
                  <a:gd name="connsiteY3" fmla="*/ 0 h 317500"/>
                  <a:gd name="connsiteX4" fmla="*/ 0 w 317500"/>
                  <a:gd name="connsiteY4" fmla="*/ 282575 h 317500"/>
                  <a:gd name="connsiteX5" fmla="*/ 19050 w 317500"/>
                  <a:gd name="connsiteY5" fmla="*/ 273050 h 317500"/>
                  <a:gd name="connsiteX0" fmla="*/ 0 w 317500"/>
                  <a:gd name="connsiteY0" fmla="*/ 282575 h 317500"/>
                  <a:gd name="connsiteX1" fmla="*/ 136525 w 317500"/>
                  <a:gd name="connsiteY1" fmla="*/ 317500 h 317500"/>
                  <a:gd name="connsiteX2" fmla="*/ 317500 w 317500"/>
                  <a:gd name="connsiteY2" fmla="*/ 28575 h 317500"/>
                  <a:gd name="connsiteX3" fmla="*/ 98425 w 317500"/>
                  <a:gd name="connsiteY3" fmla="*/ 0 h 317500"/>
                  <a:gd name="connsiteX4" fmla="*/ 0 w 317500"/>
                  <a:gd name="connsiteY4" fmla="*/ 282575 h 317500"/>
                  <a:gd name="connsiteX0" fmla="*/ 0 w 317500"/>
                  <a:gd name="connsiteY0" fmla="*/ 282575 h 314325"/>
                  <a:gd name="connsiteX1" fmla="*/ 133350 w 317500"/>
                  <a:gd name="connsiteY1" fmla="*/ 314325 h 314325"/>
                  <a:gd name="connsiteX2" fmla="*/ 317500 w 317500"/>
                  <a:gd name="connsiteY2" fmla="*/ 28575 h 314325"/>
                  <a:gd name="connsiteX3" fmla="*/ 98425 w 317500"/>
                  <a:gd name="connsiteY3" fmla="*/ 0 h 314325"/>
                  <a:gd name="connsiteX4" fmla="*/ 0 w 317500"/>
                  <a:gd name="connsiteY4" fmla="*/ 282575 h 314325"/>
                  <a:gd name="connsiteX0" fmla="*/ 0 w 323850"/>
                  <a:gd name="connsiteY0" fmla="*/ 282575 h 314325"/>
                  <a:gd name="connsiteX1" fmla="*/ 139700 w 323850"/>
                  <a:gd name="connsiteY1" fmla="*/ 314325 h 314325"/>
                  <a:gd name="connsiteX2" fmla="*/ 323850 w 323850"/>
                  <a:gd name="connsiteY2" fmla="*/ 28575 h 314325"/>
                  <a:gd name="connsiteX3" fmla="*/ 104775 w 323850"/>
                  <a:gd name="connsiteY3" fmla="*/ 0 h 314325"/>
                  <a:gd name="connsiteX4" fmla="*/ 0 w 323850"/>
                  <a:gd name="connsiteY4" fmla="*/ 282575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850" h="314325">
                    <a:moveTo>
                      <a:pt x="0" y="282575"/>
                    </a:moveTo>
                    <a:lnTo>
                      <a:pt x="139700" y="314325"/>
                    </a:lnTo>
                    <a:lnTo>
                      <a:pt x="323850" y="28575"/>
                    </a:lnTo>
                    <a:lnTo>
                      <a:pt x="104775" y="0"/>
                    </a:lnTo>
                    <a:lnTo>
                      <a:pt x="0" y="28257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6F725177-D130-567D-653E-C4EE020F054F}"/>
                  </a:ext>
                </a:extLst>
              </p:cNvPr>
              <p:cNvSpPr/>
              <p:nvPr/>
            </p:nvSpPr>
            <p:spPr>
              <a:xfrm>
                <a:off x="10401698" y="1276593"/>
                <a:ext cx="241300" cy="263525"/>
              </a:xfrm>
              <a:custGeom>
                <a:avLst/>
                <a:gdLst>
                  <a:gd name="connsiteX0" fmla="*/ 95250 w 241300"/>
                  <a:gd name="connsiteY0" fmla="*/ 263525 h 263525"/>
                  <a:gd name="connsiteX1" fmla="*/ 241300 w 241300"/>
                  <a:gd name="connsiteY1" fmla="*/ 177800 h 263525"/>
                  <a:gd name="connsiteX2" fmla="*/ 76200 w 241300"/>
                  <a:gd name="connsiteY2" fmla="*/ 0 h 263525"/>
                  <a:gd name="connsiteX3" fmla="*/ 0 w 241300"/>
                  <a:gd name="connsiteY3" fmla="*/ 25400 h 263525"/>
                  <a:gd name="connsiteX4" fmla="*/ 28575 w 241300"/>
                  <a:gd name="connsiteY4" fmla="*/ 193675 h 263525"/>
                  <a:gd name="connsiteX5" fmla="*/ 120650 w 241300"/>
                  <a:gd name="connsiteY5" fmla="*/ 187325 h 263525"/>
                  <a:gd name="connsiteX6" fmla="*/ 95250 w 241300"/>
                  <a:gd name="connsiteY6" fmla="*/ 263525 h 26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1300" h="263525">
                    <a:moveTo>
                      <a:pt x="95250" y="263525"/>
                    </a:moveTo>
                    <a:lnTo>
                      <a:pt x="241300" y="177800"/>
                    </a:lnTo>
                    <a:lnTo>
                      <a:pt x="76200" y="0"/>
                    </a:lnTo>
                    <a:lnTo>
                      <a:pt x="0" y="25400"/>
                    </a:lnTo>
                    <a:lnTo>
                      <a:pt x="28575" y="193675"/>
                    </a:lnTo>
                    <a:lnTo>
                      <a:pt x="120650" y="187325"/>
                    </a:lnTo>
                    <a:lnTo>
                      <a:pt x="95250" y="263525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D02BCB53-ADE9-DD0B-DC66-9E427C2CCBAF}"/>
                  </a:ext>
                </a:extLst>
              </p:cNvPr>
              <p:cNvSpPr/>
              <p:nvPr/>
            </p:nvSpPr>
            <p:spPr>
              <a:xfrm>
                <a:off x="10538223" y="1238493"/>
                <a:ext cx="152400" cy="146050"/>
              </a:xfrm>
              <a:custGeom>
                <a:avLst/>
                <a:gdLst>
                  <a:gd name="connsiteX0" fmla="*/ 0 w 152400"/>
                  <a:gd name="connsiteY0" fmla="*/ 19050 h 146050"/>
                  <a:gd name="connsiteX1" fmla="*/ 130175 w 152400"/>
                  <a:gd name="connsiteY1" fmla="*/ 146050 h 146050"/>
                  <a:gd name="connsiteX2" fmla="*/ 152400 w 152400"/>
                  <a:gd name="connsiteY2" fmla="*/ 88900 h 146050"/>
                  <a:gd name="connsiteX3" fmla="*/ 53975 w 152400"/>
                  <a:gd name="connsiteY3" fmla="*/ 0 h 146050"/>
                  <a:gd name="connsiteX4" fmla="*/ 0 w 152400"/>
                  <a:gd name="connsiteY4" fmla="*/ 19050 h 146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400" h="146050">
                    <a:moveTo>
                      <a:pt x="0" y="19050"/>
                    </a:moveTo>
                    <a:lnTo>
                      <a:pt x="130175" y="146050"/>
                    </a:lnTo>
                    <a:lnTo>
                      <a:pt x="152400" y="88900"/>
                    </a:lnTo>
                    <a:lnTo>
                      <a:pt x="53975" y="0"/>
                    </a:lnTo>
                    <a:lnTo>
                      <a:pt x="0" y="190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E4251CAE-C721-66FD-2B92-EF90DDA23E52}"/>
                  </a:ext>
                </a:extLst>
              </p:cNvPr>
              <p:cNvSpPr/>
              <p:nvPr/>
            </p:nvSpPr>
            <p:spPr>
              <a:xfrm>
                <a:off x="11281173" y="1089268"/>
                <a:ext cx="228600" cy="139700"/>
              </a:xfrm>
              <a:custGeom>
                <a:avLst/>
                <a:gdLst>
                  <a:gd name="connsiteX0" fmla="*/ 0 w 228600"/>
                  <a:gd name="connsiteY0" fmla="*/ 120650 h 139700"/>
                  <a:gd name="connsiteX1" fmla="*/ 228600 w 228600"/>
                  <a:gd name="connsiteY1" fmla="*/ 139700 h 139700"/>
                  <a:gd name="connsiteX2" fmla="*/ 209550 w 228600"/>
                  <a:gd name="connsiteY2" fmla="*/ 69850 h 139700"/>
                  <a:gd name="connsiteX3" fmla="*/ 142875 w 228600"/>
                  <a:gd name="connsiteY3" fmla="*/ 50800 h 139700"/>
                  <a:gd name="connsiteX4" fmla="*/ 127000 w 228600"/>
                  <a:gd name="connsiteY4" fmla="*/ 0 h 139700"/>
                  <a:gd name="connsiteX5" fmla="*/ 69850 w 228600"/>
                  <a:gd name="connsiteY5" fmla="*/ 3175 h 139700"/>
                  <a:gd name="connsiteX6" fmla="*/ 0 w 228600"/>
                  <a:gd name="connsiteY6" fmla="*/ 120650 h 13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8600" h="139700">
                    <a:moveTo>
                      <a:pt x="0" y="120650"/>
                    </a:moveTo>
                    <a:lnTo>
                      <a:pt x="228600" y="139700"/>
                    </a:lnTo>
                    <a:lnTo>
                      <a:pt x="209550" y="69850"/>
                    </a:lnTo>
                    <a:lnTo>
                      <a:pt x="142875" y="50800"/>
                    </a:lnTo>
                    <a:lnTo>
                      <a:pt x="127000" y="0"/>
                    </a:lnTo>
                    <a:lnTo>
                      <a:pt x="69850" y="3175"/>
                    </a:lnTo>
                    <a:lnTo>
                      <a:pt x="0" y="1206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3167C1F8-7CE2-48A6-089B-476107B50915}"/>
                  </a:ext>
                </a:extLst>
              </p:cNvPr>
              <p:cNvSpPr/>
              <p:nvPr/>
            </p:nvSpPr>
            <p:spPr>
              <a:xfrm>
                <a:off x="11754248" y="1146418"/>
                <a:ext cx="241300" cy="257175"/>
              </a:xfrm>
              <a:custGeom>
                <a:avLst/>
                <a:gdLst>
                  <a:gd name="connsiteX0" fmla="*/ 0 w 241300"/>
                  <a:gd name="connsiteY0" fmla="*/ 158750 h 257175"/>
                  <a:gd name="connsiteX1" fmla="*/ 238125 w 241300"/>
                  <a:gd name="connsiteY1" fmla="*/ 257175 h 257175"/>
                  <a:gd name="connsiteX2" fmla="*/ 241300 w 241300"/>
                  <a:gd name="connsiteY2" fmla="*/ 82550 h 257175"/>
                  <a:gd name="connsiteX3" fmla="*/ 57150 w 241300"/>
                  <a:gd name="connsiteY3" fmla="*/ 0 h 257175"/>
                  <a:gd name="connsiteX4" fmla="*/ 0 w 241300"/>
                  <a:gd name="connsiteY4" fmla="*/ 158750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1300" h="257175">
                    <a:moveTo>
                      <a:pt x="0" y="158750"/>
                    </a:moveTo>
                    <a:lnTo>
                      <a:pt x="238125" y="257175"/>
                    </a:lnTo>
                    <a:cubicBezTo>
                      <a:pt x="239183" y="198967"/>
                      <a:pt x="240242" y="140758"/>
                      <a:pt x="241300" y="82550"/>
                    </a:cubicBezTo>
                    <a:lnTo>
                      <a:pt x="57150" y="0"/>
                    </a:lnTo>
                    <a:lnTo>
                      <a:pt x="0" y="1587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FCA4B7B7-6E65-41F4-31AD-09B80EC58DAD}"/>
                  </a:ext>
                </a:extLst>
              </p:cNvPr>
              <p:cNvSpPr/>
              <p:nvPr/>
            </p:nvSpPr>
            <p:spPr>
              <a:xfrm>
                <a:off x="8896748" y="3343518"/>
                <a:ext cx="269875" cy="288925"/>
              </a:xfrm>
              <a:custGeom>
                <a:avLst/>
                <a:gdLst>
                  <a:gd name="connsiteX0" fmla="*/ 200025 w 269875"/>
                  <a:gd name="connsiteY0" fmla="*/ 0 h 288925"/>
                  <a:gd name="connsiteX1" fmla="*/ 200025 w 269875"/>
                  <a:gd name="connsiteY1" fmla="*/ 190500 h 288925"/>
                  <a:gd name="connsiteX2" fmla="*/ 25400 w 269875"/>
                  <a:gd name="connsiteY2" fmla="*/ 171450 h 288925"/>
                  <a:gd name="connsiteX3" fmla="*/ 0 w 269875"/>
                  <a:gd name="connsiteY3" fmla="*/ 257175 h 288925"/>
                  <a:gd name="connsiteX4" fmla="*/ 190500 w 269875"/>
                  <a:gd name="connsiteY4" fmla="*/ 288925 h 288925"/>
                  <a:gd name="connsiteX5" fmla="*/ 247650 w 269875"/>
                  <a:gd name="connsiteY5" fmla="*/ 241300 h 288925"/>
                  <a:gd name="connsiteX6" fmla="*/ 269875 w 269875"/>
                  <a:gd name="connsiteY6" fmla="*/ 25400 h 288925"/>
                  <a:gd name="connsiteX7" fmla="*/ 200025 w 269875"/>
                  <a:gd name="connsiteY7" fmla="*/ 0 h 288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9875" h="288925">
                    <a:moveTo>
                      <a:pt x="200025" y="0"/>
                    </a:moveTo>
                    <a:lnTo>
                      <a:pt x="200025" y="190500"/>
                    </a:lnTo>
                    <a:lnTo>
                      <a:pt x="25400" y="171450"/>
                    </a:lnTo>
                    <a:lnTo>
                      <a:pt x="0" y="257175"/>
                    </a:lnTo>
                    <a:lnTo>
                      <a:pt x="190500" y="288925"/>
                    </a:lnTo>
                    <a:lnTo>
                      <a:pt x="247650" y="241300"/>
                    </a:lnTo>
                    <a:lnTo>
                      <a:pt x="269875" y="25400"/>
                    </a:lnTo>
                    <a:lnTo>
                      <a:pt x="200025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05408C90-917A-1846-D131-93FA6DA823A1}"/>
                  </a:ext>
                </a:extLst>
              </p:cNvPr>
              <p:cNvSpPr/>
              <p:nvPr/>
            </p:nvSpPr>
            <p:spPr>
              <a:xfrm>
                <a:off x="8303023" y="5111993"/>
                <a:ext cx="107156" cy="233363"/>
              </a:xfrm>
              <a:custGeom>
                <a:avLst/>
                <a:gdLst>
                  <a:gd name="connsiteX0" fmla="*/ 38100 w 107156"/>
                  <a:gd name="connsiteY0" fmla="*/ 0 h 233363"/>
                  <a:gd name="connsiteX1" fmla="*/ 0 w 107156"/>
                  <a:gd name="connsiteY1" fmla="*/ 209550 h 233363"/>
                  <a:gd name="connsiteX2" fmla="*/ 100013 w 107156"/>
                  <a:gd name="connsiteY2" fmla="*/ 233363 h 233363"/>
                  <a:gd name="connsiteX3" fmla="*/ 107156 w 107156"/>
                  <a:gd name="connsiteY3" fmla="*/ 195263 h 233363"/>
                  <a:gd name="connsiteX4" fmla="*/ 97631 w 107156"/>
                  <a:gd name="connsiteY4" fmla="*/ 14288 h 233363"/>
                  <a:gd name="connsiteX5" fmla="*/ 38100 w 107156"/>
                  <a:gd name="connsiteY5" fmla="*/ 0 h 23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56" h="233363">
                    <a:moveTo>
                      <a:pt x="38100" y="0"/>
                    </a:moveTo>
                    <a:lnTo>
                      <a:pt x="0" y="209550"/>
                    </a:lnTo>
                    <a:lnTo>
                      <a:pt x="100013" y="233363"/>
                    </a:lnTo>
                    <a:lnTo>
                      <a:pt x="107156" y="195263"/>
                    </a:lnTo>
                    <a:lnTo>
                      <a:pt x="97631" y="14288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61D6C24-9FB3-1B69-4DF1-6953441C37B9}"/>
                  </a:ext>
                </a:extLst>
              </p:cNvPr>
              <p:cNvSpPr/>
              <p:nvPr/>
            </p:nvSpPr>
            <p:spPr>
              <a:xfrm>
                <a:off x="8624492" y="5809699"/>
                <a:ext cx="347662" cy="119063"/>
              </a:xfrm>
              <a:custGeom>
                <a:avLst/>
                <a:gdLst>
                  <a:gd name="connsiteX0" fmla="*/ 0 w 347662"/>
                  <a:gd name="connsiteY0" fmla="*/ 111919 h 119063"/>
                  <a:gd name="connsiteX1" fmla="*/ 183356 w 347662"/>
                  <a:gd name="connsiteY1" fmla="*/ 119063 h 119063"/>
                  <a:gd name="connsiteX2" fmla="*/ 347662 w 347662"/>
                  <a:gd name="connsiteY2" fmla="*/ 54769 h 119063"/>
                  <a:gd name="connsiteX3" fmla="*/ 342900 w 347662"/>
                  <a:gd name="connsiteY3" fmla="*/ 21432 h 119063"/>
                  <a:gd name="connsiteX4" fmla="*/ 233362 w 347662"/>
                  <a:gd name="connsiteY4" fmla="*/ 28575 h 119063"/>
                  <a:gd name="connsiteX5" fmla="*/ 97631 w 347662"/>
                  <a:gd name="connsiteY5" fmla="*/ 0 h 119063"/>
                  <a:gd name="connsiteX6" fmla="*/ 0 w 347662"/>
                  <a:gd name="connsiteY6" fmla="*/ 111919 h 119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7662" h="119063">
                    <a:moveTo>
                      <a:pt x="0" y="111919"/>
                    </a:moveTo>
                    <a:lnTo>
                      <a:pt x="183356" y="119063"/>
                    </a:lnTo>
                    <a:lnTo>
                      <a:pt x="347662" y="54769"/>
                    </a:lnTo>
                    <a:lnTo>
                      <a:pt x="342900" y="21432"/>
                    </a:lnTo>
                    <a:lnTo>
                      <a:pt x="233362" y="28575"/>
                    </a:lnTo>
                    <a:lnTo>
                      <a:pt x="97631" y="0"/>
                    </a:lnTo>
                    <a:lnTo>
                      <a:pt x="0" y="11191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FB9457D-35B8-CF42-5CF1-B4735270C57E}"/>
                  </a:ext>
                </a:extLst>
              </p:cNvPr>
              <p:cNvSpPr/>
              <p:nvPr/>
            </p:nvSpPr>
            <p:spPr>
              <a:xfrm>
                <a:off x="8019654" y="5585862"/>
                <a:ext cx="216694" cy="157162"/>
              </a:xfrm>
              <a:custGeom>
                <a:avLst/>
                <a:gdLst>
                  <a:gd name="connsiteX0" fmla="*/ 0 w 216694"/>
                  <a:gd name="connsiteY0" fmla="*/ 71437 h 157162"/>
                  <a:gd name="connsiteX1" fmla="*/ 102394 w 216694"/>
                  <a:gd name="connsiteY1" fmla="*/ 92869 h 157162"/>
                  <a:gd name="connsiteX2" fmla="*/ 166688 w 216694"/>
                  <a:gd name="connsiteY2" fmla="*/ 157162 h 157162"/>
                  <a:gd name="connsiteX3" fmla="*/ 216694 w 216694"/>
                  <a:gd name="connsiteY3" fmla="*/ 114300 h 157162"/>
                  <a:gd name="connsiteX4" fmla="*/ 97632 w 216694"/>
                  <a:gd name="connsiteY4" fmla="*/ 0 h 157162"/>
                  <a:gd name="connsiteX5" fmla="*/ 30957 w 216694"/>
                  <a:gd name="connsiteY5" fmla="*/ 28575 h 157162"/>
                  <a:gd name="connsiteX6" fmla="*/ 0 w 216694"/>
                  <a:gd name="connsiteY6" fmla="*/ 71437 h 157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694" h="157162">
                    <a:moveTo>
                      <a:pt x="0" y="71437"/>
                    </a:moveTo>
                    <a:lnTo>
                      <a:pt x="102394" y="92869"/>
                    </a:lnTo>
                    <a:lnTo>
                      <a:pt x="166688" y="157162"/>
                    </a:lnTo>
                    <a:lnTo>
                      <a:pt x="216694" y="114300"/>
                    </a:lnTo>
                    <a:lnTo>
                      <a:pt x="97632" y="0"/>
                    </a:lnTo>
                    <a:lnTo>
                      <a:pt x="30957" y="28575"/>
                    </a:lnTo>
                    <a:lnTo>
                      <a:pt x="0" y="7143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B5DBB07-14C6-A656-729F-1CBF8B82CD61}"/>
                  </a:ext>
                </a:extLst>
              </p:cNvPr>
              <p:cNvSpPr/>
              <p:nvPr/>
            </p:nvSpPr>
            <p:spPr>
              <a:xfrm>
                <a:off x="7993461" y="5745406"/>
                <a:ext cx="157162" cy="202406"/>
              </a:xfrm>
              <a:custGeom>
                <a:avLst/>
                <a:gdLst>
                  <a:gd name="connsiteX0" fmla="*/ 33337 w 157162"/>
                  <a:gd name="connsiteY0" fmla="*/ 202406 h 202406"/>
                  <a:gd name="connsiteX1" fmla="*/ 154781 w 157162"/>
                  <a:gd name="connsiteY1" fmla="*/ 71437 h 202406"/>
                  <a:gd name="connsiteX2" fmla="*/ 157162 w 157162"/>
                  <a:gd name="connsiteY2" fmla="*/ 0 h 202406"/>
                  <a:gd name="connsiteX3" fmla="*/ 0 w 157162"/>
                  <a:gd name="connsiteY3" fmla="*/ 38100 h 202406"/>
                  <a:gd name="connsiteX4" fmla="*/ 33337 w 157162"/>
                  <a:gd name="connsiteY4" fmla="*/ 202406 h 202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162" h="202406">
                    <a:moveTo>
                      <a:pt x="33337" y="202406"/>
                    </a:moveTo>
                    <a:lnTo>
                      <a:pt x="154781" y="71437"/>
                    </a:lnTo>
                    <a:cubicBezTo>
                      <a:pt x="155575" y="47625"/>
                      <a:pt x="156368" y="23812"/>
                      <a:pt x="157162" y="0"/>
                    </a:cubicBezTo>
                    <a:lnTo>
                      <a:pt x="0" y="38100"/>
                    </a:lnTo>
                    <a:lnTo>
                      <a:pt x="33337" y="2024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5B77F326-5E4E-70A0-CEAF-9E44AEC148D5}"/>
                  </a:ext>
                </a:extLst>
              </p:cNvPr>
              <p:cNvSpPr/>
              <p:nvPr/>
            </p:nvSpPr>
            <p:spPr>
              <a:xfrm>
                <a:off x="8207773" y="5119137"/>
                <a:ext cx="85725" cy="319087"/>
              </a:xfrm>
              <a:custGeom>
                <a:avLst/>
                <a:gdLst>
                  <a:gd name="connsiteX0" fmla="*/ 30956 w 85725"/>
                  <a:gd name="connsiteY0" fmla="*/ 319087 h 319087"/>
                  <a:gd name="connsiteX1" fmla="*/ 85725 w 85725"/>
                  <a:gd name="connsiteY1" fmla="*/ 0 h 319087"/>
                  <a:gd name="connsiteX2" fmla="*/ 33338 w 85725"/>
                  <a:gd name="connsiteY2" fmla="*/ 33337 h 319087"/>
                  <a:gd name="connsiteX3" fmla="*/ 0 w 85725"/>
                  <a:gd name="connsiteY3" fmla="*/ 204787 h 319087"/>
                  <a:gd name="connsiteX4" fmla="*/ 30956 w 85725"/>
                  <a:gd name="connsiteY4" fmla="*/ 319087 h 319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25" h="319087">
                    <a:moveTo>
                      <a:pt x="30956" y="319087"/>
                    </a:moveTo>
                    <a:lnTo>
                      <a:pt x="85725" y="0"/>
                    </a:lnTo>
                    <a:lnTo>
                      <a:pt x="33338" y="33337"/>
                    </a:lnTo>
                    <a:lnTo>
                      <a:pt x="0" y="204787"/>
                    </a:lnTo>
                    <a:lnTo>
                      <a:pt x="30956" y="31908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6BE995E-2CA9-E5A3-BBAB-E8CC9617CDBF}"/>
                  </a:ext>
                </a:extLst>
              </p:cNvPr>
              <p:cNvSpPr/>
              <p:nvPr/>
            </p:nvSpPr>
            <p:spPr>
              <a:xfrm>
                <a:off x="8241111" y="5902568"/>
                <a:ext cx="176212" cy="242888"/>
              </a:xfrm>
              <a:custGeom>
                <a:avLst/>
                <a:gdLst>
                  <a:gd name="connsiteX0" fmla="*/ 0 w 176212"/>
                  <a:gd name="connsiteY0" fmla="*/ 242888 h 242888"/>
                  <a:gd name="connsiteX1" fmla="*/ 176212 w 176212"/>
                  <a:gd name="connsiteY1" fmla="*/ 180975 h 242888"/>
                  <a:gd name="connsiteX2" fmla="*/ 157162 w 176212"/>
                  <a:gd name="connsiteY2" fmla="*/ 121444 h 242888"/>
                  <a:gd name="connsiteX3" fmla="*/ 78581 w 176212"/>
                  <a:gd name="connsiteY3" fmla="*/ 83344 h 242888"/>
                  <a:gd name="connsiteX4" fmla="*/ 14287 w 176212"/>
                  <a:gd name="connsiteY4" fmla="*/ 0 h 242888"/>
                  <a:gd name="connsiteX5" fmla="*/ 0 w 176212"/>
                  <a:gd name="connsiteY5" fmla="*/ 242888 h 242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212" h="242888">
                    <a:moveTo>
                      <a:pt x="0" y="242888"/>
                    </a:moveTo>
                    <a:lnTo>
                      <a:pt x="176212" y="180975"/>
                    </a:lnTo>
                    <a:lnTo>
                      <a:pt x="157162" y="121444"/>
                    </a:lnTo>
                    <a:lnTo>
                      <a:pt x="78581" y="83344"/>
                    </a:lnTo>
                    <a:lnTo>
                      <a:pt x="14287" y="0"/>
                    </a:lnTo>
                    <a:lnTo>
                      <a:pt x="0" y="24288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EDFFAA6-2985-6A3F-C38E-7F4699C17EB7}"/>
                  </a:ext>
                </a:extLst>
              </p:cNvPr>
              <p:cNvSpPr/>
              <p:nvPr/>
            </p:nvSpPr>
            <p:spPr>
              <a:xfrm>
                <a:off x="8260161" y="5766837"/>
                <a:ext cx="130968" cy="121444"/>
              </a:xfrm>
              <a:custGeom>
                <a:avLst/>
                <a:gdLst>
                  <a:gd name="connsiteX0" fmla="*/ 80962 w 130968"/>
                  <a:gd name="connsiteY0" fmla="*/ 121444 h 121444"/>
                  <a:gd name="connsiteX1" fmla="*/ 0 w 130968"/>
                  <a:gd name="connsiteY1" fmla="*/ 88106 h 121444"/>
                  <a:gd name="connsiteX2" fmla="*/ 2381 w 130968"/>
                  <a:gd name="connsiteY2" fmla="*/ 16669 h 121444"/>
                  <a:gd name="connsiteX3" fmla="*/ 38100 w 130968"/>
                  <a:gd name="connsiteY3" fmla="*/ 0 h 121444"/>
                  <a:gd name="connsiteX4" fmla="*/ 130968 w 130968"/>
                  <a:gd name="connsiteY4" fmla="*/ 76200 h 121444"/>
                  <a:gd name="connsiteX5" fmla="*/ 80962 w 130968"/>
                  <a:gd name="connsiteY5" fmla="*/ 121444 h 121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968" h="121444">
                    <a:moveTo>
                      <a:pt x="80962" y="121444"/>
                    </a:moveTo>
                    <a:lnTo>
                      <a:pt x="0" y="88106"/>
                    </a:lnTo>
                    <a:cubicBezTo>
                      <a:pt x="794" y="64294"/>
                      <a:pt x="1587" y="40481"/>
                      <a:pt x="2381" y="16669"/>
                    </a:cubicBezTo>
                    <a:lnTo>
                      <a:pt x="38100" y="0"/>
                    </a:lnTo>
                    <a:lnTo>
                      <a:pt x="130968" y="76200"/>
                    </a:lnTo>
                    <a:lnTo>
                      <a:pt x="80962" y="1214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3E4B997E-9EC2-F67F-1C8C-41811661B623}"/>
                  </a:ext>
                </a:extLst>
              </p:cNvPr>
              <p:cNvSpPr/>
              <p:nvPr/>
            </p:nvSpPr>
            <p:spPr>
              <a:xfrm>
                <a:off x="8055373" y="6066874"/>
                <a:ext cx="111919" cy="138113"/>
              </a:xfrm>
              <a:custGeom>
                <a:avLst/>
                <a:gdLst>
                  <a:gd name="connsiteX0" fmla="*/ 14288 w 111919"/>
                  <a:gd name="connsiteY0" fmla="*/ 138113 h 138113"/>
                  <a:gd name="connsiteX1" fmla="*/ 83344 w 111919"/>
                  <a:gd name="connsiteY1" fmla="*/ 116682 h 138113"/>
                  <a:gd name="connsiteX2" fmla="*/ 111919 w 111919"/>
                  <a:gd name="connsiteY2" fmla="*/ 21432 h 138113"/>
                  <a:gd name="connsiteX3" fmla="*/ 61913 w 111919"/>
                  <a:gd name="connsiteY3" fmla="*/ 0 h 138113"/>
                  <a:gd name="connsiteX4" fmla="*/ 0 w 111919"/>
                  <a:gd name="connsiteY4" fmla="*/ 16669 h 138113"/>
                  <a:gd name="connsiteX5" fmla="*/ 14288 w 111919"/>
                  <a:gd name="connsiteY5" fmla="*/ 138113 h 138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1919" h="138113">
                    <a:moveTo>
                      <a:pt x="14288" y="138113"/>
                    </a:moveTo>
                    <a:lnTo>
                      <a:pt x="83344" y="116682"/>
                    </a:lnTo>
                    <a:lnTo>
                      <a:pt x="111919" y="21432"/>
                    </a:lnTo>
                    <a:lnTo>
                      <a:pt x="61913" y="0"/>
                    </a:lnTo>
                    <a:lnTo>
                      <a:pt x="0" y="16669"/>
                    </a:lnTo>
                    <a:lnTo>
                      <a:pt x="14288" y="13811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E9AE925D-AB1E-4B20-9185-0409D24FEEEE}"/>
                  </a:ext>
                </a:extLst>
              </p:cNvPr>
              <p:cNvSpPr/>
              <p:nvPr/>
            </p:nvSpPr>
            <p:spPr>
              <a:xfrm>
                <a:off x="8369698" y="4814337"/>
                <a:ext cx="57150" cy="138112"/>
              </a:xfrm>
              <a:custGeom>
                <a:avLst/>
                <a:gdLst>
                  <a:gd name="connsiteX0" fmla="*/ 0 w 57150"/>
                  <a:gd name="connsiteY0" fmla="*/ 135731 h 138112"/>
                  <a:gd name="connsiteX1" fmla="*/ 54769 w 57150"/>
                  <a:gd name="connsiteY1" fmla="*/ 138112 h 138112"/>
                  <a:gd name="connsiteX2" fmla="*/ 57150 w 57150"/>
                  <a:gd name="connsiteY2" fmla="*/ 14287 h 138112"/>
                  <a:gd name="connsiteX3" fmla="*/ 16669 w 57150"/>
                  <a:gd name="connsiteY3" fmla="*/ 0 h 138112"/>
                  <a:gd name="connsiteX4" fmla="*/ 0 w 57150"/>
                  <a:gd name="connsiteY4" fmla="*/ 135731 h 1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138112">
                    <a:moveTo>
                      <a:pt x="0" y="135731"/>
                    </a:moveTo>
                    <a:lnTo>
                      <a:pt x="54769" y="138112"/>
                    </a:lnTo>
                    <a:cubicBezTo>
                      <a:pt x="55563" y="96837"/>
                      <a:pt x="56356" y="55562"/>
                      <a:pt x="57150" y="14287"/>
                    </a:cubicBezTo>
                    <a:lnTo>
                      <a:pt x="16669" y="0"/>
                    </a:lnTo>
                    <a:lnTo>
                      <a:pt x="0" y="13573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8E89CDC-1C90-01B8-F79C-66BD3171E9D6}"/>
                  </a:ext>
                </a:extLst>
              </p:cNvPr>
              <p:cNvSpPr/>
              <p:nvPr/>
            </p:nvSpPr>
            <p:spPr>
              <a:xfrm>
                <a:off x="8276829" y="4761949"/>
                <a:ext cx="80963" cy="192882"/>
              </a:xfrm>
              <a:custGeom>
                <a:avLst/>
                <a:gdLst>
                  <a:gd name="connsiteX0" fmla="*/ 0 w 80963"/>
                  <a:gd name="connsiteY0" fmla="*/ 178594 h 192882"/>
                  <a:gd name="connsiteX1" fmla="*/ 52388 w 80963"/>
                  <a:gd name="connsiteY1" fmla="*/ 192882 h 192882"/>
                  <a:gd name="connsiteX2" fmla="*/ 80963 w 80963"/>
                  <a:gd name="connsiteY2" fmla="*/ 14288 h 192882"/>
                  <a:gd name="connsiteX3" fmla="*/ 0 w 80963"/>
                  <a:gd name="connsiteY3" fmla="*/ 0 h 192882"/>
                  <a:gd name="connsiteX4" fmla="*/ 26194 w 80963"/>
                  <a:gd name="connsiteY4" fmla="*/ 54769 h 192882"/>
                  <a:gd name="connsiteX5" fmla="*/ 0 w 80963"/>
                  <a:gd name="connsiteY5" fmla="*/ 178594 h 192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963" h="192882">
                    <a:moveTo>
                      <a:pt x="0" y="178594"/>
                    </a:moveTo>
                    <a:lnTo>
                      <a:pt x="52388" y="192882"/>
                    </a:lnTo>
                    <a:lnTo>
                      <a:pt x="80963" y="14288"/>
                    </a:lnTo>
                    <a:lnTo>
                      <a:pt x="0" y="0"/>
                    </a:lnTo>
                    <a:lnTo>
                      <a:pt x="26194" y="54769"/>
                    </a:lnTo>
                    <a:lnTo>
                      <a:pt x="0" y="17859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CD4BEE8-58FA-6AFC-26FA-02E023C5239B}"/>
                  </a:ext>
                </a:extLst>
              </p:cNvPr>
              <p:cNvSpPr/>
              <p:nvPr/>
            </p:nvSpPr>
            <p:spPr>
              <a:xfrm>
                <a:off x="8241111" y="4485724"/>
                <a:ext cx="150018" cy="285750"/>
              </a:xfrm>
              <a:custGeom>
                <a:avLst/>
                <a:gdLst>
                  <a:gd name="connsiteX0" fmla="*/ 116681 w 150018"/>
                  <a:gd name="connsiteY0" fmla="*/ 285750 h 285750"/>
                  <a:gd name="connsiteX1" fmla="*/ 133350 w 150018"/>
                  <a:gd name="connsiteY1" fmla="*/ 183357 h 285750"/>
                  <a:gd name="connsiteX2" fmla="*/ 107156 w 150018"/>
                  <a:gd name="connsiteY2" fmla="*/ 178594 h 285750"/>
                  <a:gd name="connsiteX3" fmla="*/ 119062 w 150018"/>
                  <a:gd name="connsiteY3" fmla="*/ 97632 h 285750"/>
                  <a:gd name="connsiteX4" fmla="*/ 145256 w 150018"/>
                  <a:gd name="connsiteY4" fmla="*/ 90488 h 285750"/>
                  <a:gd name="connsiteX5" fmla="*/ 150018 w 150018"/>
                  <a:gd name="connsiteY5" fmla="*/ 33338 h 285750"/>
                  <a:gd name="connsiteX6" fmla="*/ 111918 w 150018"/>
                  <a:gd name="connsiteY6" fmla="*/ 0 h 285750"/>
                  <a:gd name="connsiteX7" fmla="*/ 0 w 150018"/>
                  <a:gd name="connsiteY7" fmla="*/ 169069 h 285750"/>
                  <a:gd name="connsiteX8" fmla="*/ 30956 w 150018"/>
                  <a:gd name="connsiteY8" fmla="*/ 271463 h 285750"/>
                  <a:gd name="connsiteX9" fmla="*/ 116681 w 150018"/>
                  <a:gd name="connsiteY9" fmla="*/ 285750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0018" h="285750">
                    <a:moveTo>
                      <a:pt x="116681" y="285750"/>
                    </a:moveTo>
                    <a:lnTo>
                      <a:pt x="133350" y="183357"/>
                    </a:lnTo>
                    <a:lnTo>
                      <a:pt x="107156" y="178594"/>
                    </a:lnTo>
                    <a:lnTo>
                      <a:pt x="119062" y="97632"/>
                    </a:lnTo>
                    <a:lnTo>
                      <a:pt x="145256" y="90488"/>
                    </a:lnTo>
                    <a:lnTo>
                      <a:pt x="150018" y="33338"/>
                    </a:lnTo>
                    <a:lnTo>
                      <a:pt x="111918" y="0"/>
                    </a:lnTo>
                    <a:lnTo>
                      <a:pt x="0" y="169069"/>
                    </a:lnTo>
                    <a:lnTo>
                      <a:pt x="30956" y="271463"/>
                    </a:lnTo>
                    <a:lnTo>
                      <a:pt x="116681" y="2857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602E4AB5-7A62-9D7C-BBEA-AACBF3C28153}"/>
                  </a:ext>
                </a:extLst>
              </p:cNvPr>
              <p:cNvSpPr/>
              <p:nvPr/>
            </p:nvSpPr>
            <p:spPr>
              <a:xfrm>
                <a:off x="8348267" y="4219024"/>
                <a:ext cx="83344" cy="302419"/>
              </a:xfrm>
              <a:custGeom>
                <a:avLst/>
                <a:gdLst>
                  <a:gd name="connsiteX0" fmla="*/ 0 w 83344"/>
                  <a:gd name="connsiteY0" fmla="*/ 266700 h 302419"/>
                  <a:gd name="connsiteX1" fmla="*/ 38100 w 83344"/>
                  <a:gd name="connsiteY1" fmla="*/ 302419 h 302419"/>
                  <a:gd name="connsiteX2" fmla="*/ 83344 w 83344"/>
                  <a:gd name="connsiteY2" fmla="*/ 59532 h 302419"/>
                  <a:gd name="connsiteX3" fmla="*/ 47625 w 83344"/>
                  <a:gd name="connsiteY3" fmla="*/ 2382 h 302419"/>
                  <a:gd name="connsiteX4" fmla="*/ 2381 w 83344"/>
                  <a:gd name="connsiteY4" fmla="*/ 0 h 302419"/>
                  <a:gd name="connsiteX5" fmla="*/ 0 w 83344"/>
                  <a:gd name="connsiteY5" fmla="*/ 266700 h 302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344" h="302419">
                    <a:moveTo>
                      <a:pt x="0" y="266700"/>
                    </a:moveTo>
                    <a:lnTo>
                      <a:pt x="38100" y="302419"/>
                    </a:lnTo>
                    <a:lnTo>
                      <a:pt x="83344" y="59532"/>
                    </a:lnTo>
                    <a:lnTo>
                      <a:pt x="47625" y="2382"/>
                    </a:lnTo>
                    <a:lnTo>
                      <a:pt x="2381" y="0"/>
                    </a:lnTo>
                    <a:cubicBezTo>
                      <a:pt x="3175" y="90488"/>
                      <a:pt x="3968" y="180975"/>
                      <a:pt x="0" y="26670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CF86AA9-47E7-F15B-DA6B-B9939C0B9FAF}"/>
              </a:ext>
            </a:extLst>
          </p:cNvPr>
          <p:cNvGrpSpPr/>
          <p:nvPr/>
        </p:nvGrpSpPr>
        <p:grpSpPr>
          <a:xfrm>
            <a:off x="7370723" y="1080854"/>
            <a:ext cx="4773439" cy="5245116"/>
            <a:chOff x="7370723" y="1080854"/>
            <a:chExt cx="4773439" cy="5245116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1F5AF29-1752-561B-681D-74795D941583}"/>
                </a:ext>
              </a:extLst>
            </p:cNvPr>
            <p:cNvSpPr/>
            <p:nvPr/>
          </p:nvSpPr>
          <p:spPr>
            <a:xfrm>
              <a:off x="8601849" y="2950750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dvest A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81EBC9CF-D8A6-4F51-DC29-5B68BFCA15EC}"/>
                </a:ext>
              </a:extLst>
            </p:cNvPr>
            <p:cNvSpPr/>
            <p:nvPr/>
          </p:nvSpPr>
          <p:spPr>
            <a:xfrm>
              <a:off x="8353986" y="3343518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dvest B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DD4F9F0-88EB-06FF-5FDC-F1DCF4DEFD04}"/>
                </a:ext>
              </a:extLst>
            </p:cNvPr>
            <p:cNvSpPr/>
            <p:nvPr/>
          </p:nvSpPr>
          <p:spPr>
            <a:xfrm>
              <a:off x="8167292" y="3749123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dvest C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C0FFAC8-EB2C-29FC-E12C-6D095F03403E}"/>
                </a:ext>
              </a:extLst>
            </p:cNvPr>
            <p:cNvSpPr/>
            <p:nvPr/>
          </p:nvSpPr>
          <p:spPr>
            <a:xfrm>
              <a:off x="7615239" y="4797668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stavind C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0D4B361-8368-87ED-7AAE-470D77983AE6}"/>
                </a:ext>
              </a:extLst>
            </p:cNvPr>
            <p:cNvSpPr/>
            <p:nvPr/>
          </p:nvSpPr>
          <p:spPr>
            <a:xfrm>
              <a:off x="7570749" y="4572036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stavind B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AD1D874-EEB3-DAFA-439F-276637C87C8B}"/>
                </a:ext>
              </a:extLst>
            </p:cNvPr>
            <p:cNvSpPr/>
            <p:nvPr/>
          </p:nvSpPr>
          <p:spPr>
            <a:xfrm>
              <a:off x="7698186" y="4289460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stavind A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E1128A4-5635-C39D-DA00-09F718F61C74}"/>
                </a:ext>
              </a:extLst>
            </p:cNvPr>
            <p:cNvSpPr/>
            <p:nvPr/>
          </p:nvSpPr>
          <p:spPr>
            <a:xfrm>
              <a:off x="8357016" y="4832974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stavind D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80F0DB1-DFAC-90E9-2268-2B632CCCBDFE}"/>
                </a:ext>
              </a:extLst>
            </p:cNvPr>
            <p:cNvSpPr/>
            <p:nvPr/>
          </p:nvSpPr>
          <p:spPr>
            <a:xfrm>
              <a:off x="8368528" y="5183834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stavind F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24CD1D4-BF76-6DE8-ADA4-DC70FD25FD48}"/>
                </a:ext>
              </a:extLst>
            </p:cNvPr>
            <p:cNvSpPr/>
            <p:nvPr/>
          </p:nvSpPr>
          <p:spPr>
            <a:xfrm>
              <a:off x="7565193" y="5196442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stavind E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62A987F-B036-BD33-D5C6-AF769728B746}"/>
                </a:ext>
              </a:extLst>
            </p:cNvPr>
            <p:cNvSpPr/>
            <p:nvPr/>
          </p:nvSpPr>
          <p:spPr>
            <a:xfrm>
              <a:off x="7483853" y="5491407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ørvest A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0E95C52-0204-8F2C-ADAE-36EF51DCE6AC}"/>
                </a:ext>
              </a:extLst>
            </p:cNvPr>
            <p:cNvSpPr/>
            <p:nvPr/>
          </p:nvSpPr>
          <p:spPr>
            <a:xfrm>
              <a:off x="7370723" y="5761280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ørvest B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8C29DA0-A800-B1CD-FB66-C512DE29C6F7}"/>
                </a:ext>
              </a:extLst>
            </p:cNvPr>
            <p:cNvSpPr/>
            <p:nvPr/>
          </p:nvSpPr>
          <p:spPr>
            <a:xfrm>
              <a:off x="7424719" y="5947018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ørvest C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78D3C78-27E9-9B15-C58B-A5CF35AEB5E2}"/>
                </a:ext>
              </a:extLst>
            </p:cNvPr>
            <p:cNvSpPr/>
            <p:nvPr/>
          </p:nvSpPr>
          <p:spPr>
            <a:xfrm>
              <a:off x="8159254" y="5638739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ørvest E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34D85E9-54F2-8913-EE73-0A1284FBD919}"/>
                </a:ext>
              </a:extLst>
            </p:cNvPr>
            <p:cNvSpPr/>
            <p:nvPr/>
          </p:nvSpPr>
          <p:spPr>
            <a:xfrm>
              <a:off x="8853646" y="5862980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ønnavind A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B8C0583-FAAF-D256-177F-5AC6684DFCD8}"/>
                </a:ext>
              </a:extLst>
            </p:cNvPr>
            <p:cNvSpPr/>
            <p:nvPr/>
          </p:nvSpPr>
          <p:spPr>
            <a:xfrm>
              <a:off x="8205392" y="6110568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ørvest F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A6936C5-855A-39CA-B700-70BF1177DAEC}"/>
                </a:ext>
              </a:extLst>
            </p:cNvPr>
            <p:cNvSpPr/>
            <p:nvPr/>
          </p:nvSpPr>
          <p:spPr>
            <a:xfrm>
              <a:off x="7649349" y="6184682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ørvest D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DCD8A9D-A73F-79D0-897E-2582C61E4DB5}"/>
                </a:ext>
              </a:extLst>
            </p:cNvPr>
            <p:cNvSpPr/>
            <p:nvPr/>
          </p:nvSpPr>
          <p:spPr>
            <a:xfrm>
              <a:off x="9738241" y="1340569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davind D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525D218-1251-79AF-F7F6-47F0642FAB9C}"/>
                </a:ext>
              </a:extLst>
            </p:cNvPr>
            <p:cNvSpPr/>
            <p:nvPr/>
          </p:nvSpPr>
          <p:spPr>
            <a:xfrm>
              <a:off x="10244118" y="1080854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davind C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ADF76EB-8F22-1C42-D4A5-5AF0ECAF889F}"/>
                </a:ext>
              </a:extLst>
            </p:cNvPr>
            <p:cNvSpPr/>
            <p:nvPr/>
          </p:nvSpPr>
          <p:spPr>
            <a:xfrm>
              <a:off x="11036654" y="1320423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davind B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B696F80-A1D9-B86A-BF46-56AB7D0EA044}"/>
                </a:ext>
              </a:extLst>
            </p:cNvPr>
            <p:cNvSpPr/>
            <p:nvPr/>
          </p:nvSpPr>
          <p:spPr>
            <a:xfrm>
              <a:off x="11403553" y="1474295"/>
              <a:ext cx="740609" cy="1412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1200" cap="none" spc="0" normalizeH="0" baseline="0" noProof="0">
                  <a:ln>
                    <a:noFill/>
                  </a:ln>
                  <a:solidFill>
                    <a:srgbClr val="1E346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rdavind A</a:t>
              </a:r>
            </a:p>
          </p:txBody>
        </p:sp>
      </p:grp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21EE3977-D321-DCC9-E51D-A00DAC945CB9}"/>
              </a:ext>
            </a:extLst>
          </p:cNvPr>
          <p:cNvSpPr/>
          <p:nvPr/>
        </p:nvSpPr>
        <p:spPr>
          <a:xfrm>
            <a:off x="1562470" y="1611702"/>
            <a:ext cx="5379868" cy="1616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Norwegian Water Resources and Energy Directorate (“NVE”) is a directorate under the Ministry of Petroleum and Ener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nb-NO" sz="1100" b="0" i="0" u="none" strike="noStrike" kern="1200" cap="none" spc="0" normalizeH="0" baseline="0" noProof="0" dirty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V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responsible for the management of Norway’s water and energy resources and for maintaining national power suppl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April 2023, NVE published 20 offshore wind areas for further research as part of their assignment from the Ministry of Petroleum and Ener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VE was able to identify up to 30GW in potential development areas, mainly for floating offshore wind (85%), with ambition to be awarded by 2040</a:t>
            </a:r>
          </a:p>
        </p:txBody>
      </p:sp>
      <p:cxnSp>
        <p:nvCxnSpPr>
          <p:cNvPr id="1057" name="Straight Connector 1056">
            <a:extLst>
              <a:ext uri="{FF2B5EF4-FFF2-40B4-BE49-F238E27FC236}">
                <a16:creationId xmlns:a16="http://schemas.microsoft.com/office/drawing/2014/main" id="{32BF8827-8775-5AF2-B058-13AB6E4FE9E6}"/>
              </a:ext>
            </a:extLst>
          </p:cNvPr>
          <p:cNvCxnSpPr>
            <a:cxnSpLocks/>
          </p:cNvCxnSpPr>
          <p:nvPr/>
        </p:nvCxnSpPr>
        <p:spPr>
          <a:xfrm>
            <a:off x="529395" y="3243443"/>
            <a:ext cx="6340995" cy="0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517799F8-A945-C823-13CD-075F7B811685}"/>
              </a:ext>
            </a:extLst>
          </p:cNvPr>
          <p:cNvSpPr/>
          <p:nvPr/>
        </p:nvSpPr>
        <p:spPr>
          <a:xfrm>
            <a:off x="3766725" y="3421886"/>
            <a:ext cx="3103666" cy="1154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art from the two previous identified areas </a:t>
            </a:r>
            <a:r>
              <a:rPr kumimoji="0" lang="en-US" sz="1000" b="0" i="1" u="none" strike="noStrike" kern="1200" cap="none" spc="0" normalizeH="0" baseline="0" noProof="0" err="1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ørlige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err="1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dsjø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I (part of </a:t>
            </a:r>
            <a:r>
              <a:rPr kumimoji="0" lang="en-US" sz="1000" b="0" i="1" u="none" strike="noStrike" kern="1200" cap="none" spc="0" normalizeH="0" baseline="0" noProof="0" err="1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ørvest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) and Utsira Nord (part of </a:t>
            </a:r>
            <a:r>
              <a:rPr kumimoji="0" lang="en-US" sz="1000" b="0" i="1" u="none" strike="noStrike" kern="1200" cap="none" spc="0" normalizeH="0" baseline="0" noProof="0" err="1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stavind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), NVE has identified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 additional areas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the North Sea suited for offshore win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5%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these areas 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s floating wind technology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representing a huge potential for floating offshore wind technology in Norway</a:t>
            </a:r>
          </a:p>
        </p:txBody>
      </p:sp>
      <p:sp>
        <p:nvSpPr>
          <p:cNvPr id="1065" name="Rectangle 1064">
            <a:extLst>
              <a:ext uri="{FF2B5EF4-FFF2-40B4-BE49-F238E27FC236}">
                <a16:creationId xmlns:a16="http://schemas.microsoft.com/office/drawing/2014/main" id="{FEBEB5FE-9C6D-BA84-318E-10D8FBBB132B}"/>
              </a:ext>
            </a:extLst>
          </p:cNvPr>
          <p:cNvSpPr/>
          <p:nvPr/>
        </p:nvSpPr>
        <p:spPr>
          <a:xfrm>
            <a:off x="476523" y="4039849"/>
            <a:ext cx="1665992" cy="397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shore wind areas prior to April 2023</a:t>
            </a:r>
            <a:r>
              <a:rPr kumimoji="0" lang="en-US" sz="1200" b="1" i="1" u="none" strike="noStrike" kern="1200" cap="none" spc="0" normalizeH="0" baseline="3000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066" name="Rectangle 1065">
            <a:extLst>
              <a:ext uri="{FF2B5EF4-FFF2-40B4-BE49-F238E27FC236}">
                <a16:creationId xmlns:a16="http://schemas.microsoft.com/office/drawing/2014/main" id="{6F7D05FA-814B-DC5C-F2A6-AED451B30948}"/>
              </a:ext>
            </a:extLst>
          </p:cNvPr>
          <p:cNvSpPr/>
          <p:nvPr/>
        </p:nvSpPr>
        <p:spPr>
          <a:xfrm>
            <a:off x="2147228" y="4039849"/>
            <a:ext cx="1665992" cy="397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ed areas published April 2023</a:t>
            </a:r>
          </a:p>
        </p:txBody>
      </p:sp>
      <p:sp>
        <p:nvSpPr>
          <p:cNvPr id="1069" name="Rectangle 1068">
            <a:extLst>
              <a:ext uri="{FF2B5EF4-FFF2-40B4-BE49-F238E27FC236}">
                <a16:creationId xmlns:a16="http://schemas.microsoft.com/office/drawing/2014/main" id="{5B8DC072-5404-0A1E-52B6-9FC543CD3361}"/>
              </a:ext>
            </a:extLst>
          </p:cNvPr>
          <p:cNvSpPr/>
          <p:nvPr/>
        </p:nvSpPr>
        <p:spPr>
          <a:xfrm>
            <a:off x="950036" y="3560654"/>
            <a:ext cx="7189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70" name="Rectangle 1069">
            <a:extLst>
              <a:ext uri="{FF2B5EF4-FFF2-40B4-BE49-F238E27FC236}">
                <a16:creationId xmlns:a16="http://schemas.microsoft.com/office/drawing/2014/main" id="{5C94EBC5-3FEE-1915-5DC4-E235C3C9A9FA}"/>
              </a:ext>
            </a:extLst>
          </p:cNvPr>
          <p:cNvSpPr/>
          <p:nvPr/>
        </p:nvSpPr>
        <p:spPr>
          <a:xfrm>
            <a:off x="2620741" y="3560654"/>
            <a:ext cx="7189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</a:t>
            </a:r>
          </a:p>
        </p:txBody>
      </p:sp>
      <p:sp>
        <p:nvSpPr>
          <p:cNvPr id="1072" name="Freeform 121">
            <a:extLst>
              <a:ext uri="{FF2B5EF4-FFF2-40B4-BE49-F238E27FC236}">
                <a16:creationId xmlns:a16="http://schemas.microsoft.com/office/drawing/2014/main" id="{9DDC3A6E-589C-FFF2-A2B0-73244B9E6E7B}"/>
              </a:ext>
            </a:extLst>
          </p:cNvPr>
          <p:cNvSpPr>
            <a:spLocks noEditPoints="1"/>
          </p:cNvSpPr>
          <p:nvPr/>
        </p:nvSpPr>
        <p:spPr bwMode="auto">
          <a:xfrm>
            <a:off x="2533106" y="3536608"/>
            <a:ext cx="878494" cy="501383"/>
          </a:xfrm>
          <a:custGeom>
            <a:avLst/>
            <a:gdLst>
              <a:gd name="T0" fmla="*/ 685 w 1319"/>
              <a:gd name="T1" fmla="*/ 39 h 237"/>
              <a:gd name="T2" fmla="*/ 684 w 1319"/>
              <a:gd name="T3" fmla="*/ 48 h 237"/>
              <a:gd name="T4" fmla="*/ 686 w 1319"/>
              <a:gd name="T5" fmla="*/ 40 h 237"/>
              <a:gd name="T6" fmla="*/ 689 w 1319"/>
              <a:gd name="T7" fmla="*/ 38 h 237"/>
              <a:gd name="T8" fmla="*/ 1030 w 1319"/>
              <a:gd name="T9" fmla="*/ 43 h 237"/>
              <a:gd name="T10" fmla="*/ 1319 w 1319"/>
              <a:gd name="T11" fmla="*/ 126 h 237"/>
              <a:gd name="T12" fmla="*/ 1278 w 1319"/>
              <a:gd name="T13" fmla="*/ 85 h 237"/>
              <a:gd name="T14" fmla="*/ 1098 w 1319"/>
              <a:gd name="T15" fmla="*/ 53 h 237"/>
              <a:gd name="T16" fmla="*/ 927 w 1319"/>
              <a:gd name="T17" fmla="*/ 38 h 237"/>
              <a:gd name="T18" fmla="*/ 835 w 1319"/>
              <a:gd name="T19" fmla="*/ 36 h 237"/>
              <a:gd name="T20" fmla="*/ 809 w 1319"/>
              <a:gd name="T21" fmla="*/ 36 h 237"/>
              <a:gd name="T22" fmla="*/ 927 w 1319"/>
              <a:gd name="T23" fmla="*/ 39 h 237"/>
              <a:gd name="T24" fmla="*/ 906 w 1319"/>
              <a:gd name="T25" fmla="*/ 40 h 237"/>
              <a:gd name="T26" fmla="*/ 954 w 1319"/>
              <a:gd name="T27" fmla="*/ 43 h 237"/>
              <a:gd name="T28" fmla="*/ 718 w 1319"/>
              <a:gd name="T29" fmla="*/ 40 h 237"/>
              <a:gd name="T30" fmla="*/ 1084 w 1319"/>
              <a:gd name="T31" fmla="*/ 57 h 237"/>
              <a:gd name="T32" fmla="*/ 954 w 1319"/>
              <a:gd name="T33" fmla="*/ 48 h 237"/>
              <a:gd name="T34" fmla="*/ 688 w 1319"/>
              <a:gd name="T35" fmla="*/ 45 h 237"/>
              <a:gd name="T36" fmla="*/ 692 w 1319"/>
              <a:gd name="T37" fmla="*/ 45 h 237"/>
              <a:gd name="T38" fmla="*/ 941 w 1319"/>
              <a:gd name="T39" fmla="*/ 49 h 237"/>
              <a:gd name="T40" fmla="*/ 1142 w 1319"/>
              <a:gd name="T41" fmla="*/ 69 h 237"/>
              <a:gd name="T42" fmla="*/ 1291 w 1319"/>
              <a:gd name="T43" fmla="*/ 105 h 237"/>
              <a:gd name="T44" fmla="*/ 1300 w 1319"/>
              <a:gd name="T45" fmla="*/ 134 h 237"/>
              <a:gd name="T46" fmla="*/ 1171 w 1319"/>
              <a:gd name="T47" fmla="*/ 185 h 237"/>
              <a:gd name="T48" fmla="*/ 765 w 1319"/>
              <a:gd name="T49" fmla="*/ 221 h 237"/>
              <a:gd name="T50" fmla="*/ 244 w 1319"/>
              <a:gd name="T51" fmla="*/ 206 h 237"/>
              <a:gd name="T52" fmla="*/ 14 w 1319"/>
              <a:gd name="T53" fmla="*/ 149 h 237"/>
              <a:gd name="T54" fmla="*/ 350 w 1319"/>
              <a:gd name="T55" fmla="*/ 42 h 237"/>
              <a:gd name="T56" fmla="*/ 774 w 1319"/>
              <a:gd name="T57" fmla="*/ 16 h 237"/>
              <a:gd name="T58" fmla="*/ 1123 w 1319"/>
              <a:gd name="T59" fmla="*/ 36 h 237"/>
              <a:gd name="T60" fmla="*/ 1130 w 1319"/>
              <a:gd name="T61" fmla="*/ 38 h 237"/>
              <a:gd name="T62" fmla="*/ 1137 w 1319"/>
              <a:gd name="T63" fmla="*/ 38 h 237"/>
              <a:gd name="T64" fmla="*/ 1144 w 1319"/>
              <a:gd name="T65" fmla="*/ 33 h 237"/>
              <a:gd name="T66" fmla="*/ 1143 w 1319"/>
              <a:gd name="T67" fmla="*/ 25 h 237"/>
              <a:gd name="T68" fmla="*/ 1137 w 1319"/>
              <a:gd name="T69" fmla="*/ 20 h 237"/>
              <a:gd name="T70" fmla="*/ 1131 w 1319"/>
              <a:gd name="T71" fmla="*/ 19 h 237"/>
              <a:gd name="T72" fmla="*/ 1122 w 1319"/>
              <a:gd name="T73" fmla="*/ 19 h 237"/>
              <a:gd name="T74" fmla="*/ 920 w 1319"/>
              <a:gd name="T75" fmla="*/ 2 h 237"/>
              <a:gd name="T76" fmla="*/ 750 w 1319"/>
              <a:gd name="T77" fmla="*/ 1 h 237"/>
              <a:gd name="T78" fmla="*/ 385 w 1319"/>
              <a:gd name="T79" fmla="*/ 23 h 237"/>
              <a:gd name="T80" fmla="*/ 65 w 1319"/>
              <a:gd name="T81" fmla="*/ 94 h 237"/>
              <a:gd name="T82" fmla="*/ 7 w 1319"/>
              <a:gd name="T83" fmla="*/ 168 h 237"/>
              <a:gd name="T84" fmla="*/ 158 w 1319"/>
              <a:gd name="T85" fmla="*/ 212 h 237"/>
              <a:gd name="T86" fmla="*/ 992 w 1319"/>
              <a:gd name="T87" fmla="*/ 223 h 237"/>
              <a:gd name="T88" fmla="*/ 1284 w 1319"/>
              <a:gd name="T89" fmla="*/ 161 h 237"/>
              <a:gd name="T90" fmla="*/ 1319 w 1319"/>
              <a:gd name="T91" fmla="*/ 126 h 237"/>
              <a:gd name="T92" fmla="*/ 985 w 1319"/>
              <a:gd name="T93" fmla="*/ 52 h 237"/>
              <a:gd name="T94" fmla="*/ 688 w 1319"/>
              <a:gd name="T95" fmla="*/ 44 h 237"/>
              <a:gd name="T96" fmla="*/ 1041 w 1319"/>
              <a:gd name="T97" fmla="*/ 46 h 237"/>
              <a:gd name="T98" fmla="*/ 688 w 1319"/>
              <a:gd name="T99" fmla="*/ 45 h 237"/>
              <a:gd name="T100" fmla="*/ 1270 w 1319"/>
              <a:gd name="T101" fmla="*/ 96 h 237"/>
              <a:gd name="T102" fmla="*/ 688 w 1319"/>
              <a:gd name="T103" fmla="*/ 46 h 237"/>
              <a:gd name="T104" fmla="*/ 769 w 1319"/>
              <a:gd name="T105" fmla="*/ 37 h 237"/>
              <a:gd name="T106" fmla="*/ 926 w 1319"/>
              <a:gd name="T107" fmla="*/ 46 h 237"/>
              <a:gd name="T108" fmla="*/ 986 w 1319"/>
              <a:gd name="T109" fmla="*/ 52 h 237"/>
              <a:gd name="T110" fmla="*/ 687 w 1319"/>
              <a:gd name="T111" fmla="*/ 41 h 237"/>
              <a:gd name="T112" fmla="*/ 689 w 1319"/>
              <a:gd name="T113" fmla="*/ 38 h 237"/>
              <a:gd name="T114" fmla="*/ 689 w 1319"/>
              <a:gd name="T115" fmla="*/ 45 h 237"/>
              <a:gd name="T116" fmla="*/ 688 w 1319"/>
              <a:gd name="T117" fmla="*/ 41 h 237"/>
              <a:gd name="T118" fmla="*/ 689 w 1319"/>
              <a:gd name="T119" fmla="*/ 41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19" h="237">
                <a:moveTo>
                  <a:pt x="686" y="40"/>
                </a:moveTo>
                <a:cubicBezTo>
                  <a:pt x="686" y="40"/>
                  <a:pt x="686" y="40"/>
                  <a:pt x="686" y="40"/>
                </a:cubicBezTo>
                <a:cubicBezTo>
                  <a:pt x="686" y="40"/>
                  <a:pt x="685" y="40"/>
                  <a:pt x="684" y="40"/>
                </a:cubicBezTo>
                <a:cubicBezTo>
                  <a:pt x="684" y="40"/>
                  <a:pt x="684" y="40"/>
                  <a:pt x="684" y="40"/>
                </a:cubicBezTo>
                <a:cubicBezTo>
                  <a:pt x="684" y="40"/>
                  <a:pt x="684" y="40"/>
                  <a:pt x="683" y="40"/>
                </a:cubicBezTo>
                <a:cubicBezTo>
                  <a:pt x="684" y="39"/>
                  <a:pt x="685" y="40"/>
                  <a:pt x="685" y="39"/>
                </a:cubicBezTo>
                <a:cubicBezTo>
                  <a:pt x="685" y="39"/>
                  <a:pt x="685" y="39"/>
                  <a:pt x="685" y="39"/>
                </a:cubicBezTo>
                <a:cubicBezTo>
                  <a:pt x="686" y="39"/>
                  <a:pt x="687" y="39"/>
                  <a:pt x="688" y="39"/>
                </a:cubicBezTo>
                <a:cubicBezTo>
                  <a:pt x="687" y="40"/>
                  <a:pt x="686" y="39"/>
                  <a:pt x="686" y="40"/>
                </a:cubicBezTo>
                <a:close/>
                <a:moveTo>
                  <a:pt x="684" y="48"/>
                </a:moveTo>
                <a:cubicBezTo>
                  <a:pt x="685" y="48"/>
                  <a:pt x="685" y="48"/>
                  <a:pt x="685" y="48"/>
                </a:cubicBezTo>
                <a:cubicBezTo>
                  <a:pt x="685" y="48"/>
                  <a:pt x="684" y="48"/>
                  <a:pt x="684" y="48"/>
                </a:cubicBezTo>
                <a:close/>
                <a:moveTo>
                  <a:pt x="685" y="46"/>
                </a:moveTo>
                <a:cubicBezTo>
                  <a:pt x="685" y="46"/>
                  <a:pt x="685" y="46"/>
                  <a:pt x="685" y="46"/>
                </a:cubicBezTo>
                <a:cubicBezTo>
                  <a:pt x="685" y="46"/>
                  <a:pt x="685" y="46"/>
                  <a:pt x="685" y="46"/>
                </a:cubicBezTo>
                <a:close/>
                <a:moveTo>
                  <a:pt x="686" y="40"/>
                </a:moveTo>
                <a:cubicBezTo>
                  <a:pt x="686" y="40"/>
                  <a:pt x="687" y="40"/>
                  <a:pt x="687" y="40"/>
                </a:cubicBezTo>
                <a:cubicBezTo>
                  <a:pt x="686" y="40"/>
                  <a:pt x="686" y="40"/>
                  <a:pt x="686" y="40"/>
                </a:cubicBezTo>
                <a:cubicBezTo>
                  <a:pt x="686" y="40"/>
                  <a:pt x="686" y="40"/>
                  <a:pt x="686" y="40"/>
                </a:cubicBezTo>
                <a:close/>
                <a:moveTo>
                  <a:pt x="686" y="43"/>
                </a:moveTo>
                <a:cubicBezTo>
                  <a:pt x="686" y="44"/>
                  <a:pt x="686" y="43"/>
                  <a:pt x="686" y="43"/>
                </a:cubicBezTo>
                <a:close/>
                <a:moveTo>
                  <a:pt x="689" y="38"/>
                </a:moveTo>
                <a:cubicBezTo>
                  <a:pt x="688" y="38"/>
                  <a:pt x="688" y="38"/>
                  <a:pt x="688" y="39"/>
                </a:cubicBezTo>
                <a:cubicBezTo>
                  <a:pt x="688" y="39"/>
                  <a:pt x="689" y="39"/>
                  <a:pt x="689" y="38"/>
                </a:cubicBezTo>
                <a:close/>
                <a:moveTo>
                  <a:pt x="685" y="46"/>
                </a:moveTo>
                <a:cubicBezTo>
                  <a:pt x="685" y="46"/>
                  <a:pt x="685" y="46"/>
                  <a:pt x="685" y="46"/>
                </a:cubicBezTo>
                <a:close/>
                <a:moveTo>
                  <a:pt x="685" y="45"/>
                </a:moveTo>
                <a:cubicBezTo>
                  <a:pt x="685" y="45"/>
                  <a:pt x="685" y="45"/>
                  <a:pt x="685" y="45"/>
                </a:cubicBezTo>
                <a:cubicBezTo>
                  <a:pt x="685" y="45"/>
                  <a:pt x="685" y="45"/>
                  <a:pt x="685" y="45"/>
                </a:cubicBezTo>
                <a:close/>
                <a:moveTo>
                  <a:pt x="1030" y="43"/>
                </a:moveTo>
                <a:cubicBezTo>
                  <a:pt x="1023" y="42"/>
                  <a:pt x="1012" y="41"/>
                  <a:pt x="1009" y="41"/>
                </a:cubicBezTo>
                <a:cubicBezTo>
                  <a:pt x="1019" y="42"/>
                  <a:pt x="1026" y="43"/>
                  <a:pt x="1030" y="43"/>
                </a:cubicBezTo>
                <a:close/>
                <a:moveTo>
                  <a:pt x="1122" y="54"/>
                </a:moveTo>
                <a:cubicBezTo>
                  <a:pt x="1109" y="53"/>
                  <a:pt x="1109" y="53"/>
                  <a:pt x="1109" y="53"/>
                </a:cubicBezTo>
                <a:cubicBezTo>
                  <a:pt x="1108" y="53"/>
                  <a:pt x="1118" y="54"/>
                  <a:pt x="1122" y="54"/>
                </a:cubicBezTo>
                <a:close/>
                <a:moveTo>
                  <a:pt x="1319" y="126"/>
                </a:moveTo>
                <a:cubicBezTo>
                  <a:pt x="1319" y="125"/>
                  <a:pt x="1319" y="125"/>
                  <a:pt x="1319" y="125"/>
                </a:cubicBezTo>
                <a:cubicBezTo>
                  <a:pt x="1319" y="124"/>
                  <a:pt x="1319" y="124"/>
                  <a:pt x="1319" y="124"/>
                </a:cubicBezTo>
                <a:cubicBezTo>
                  <a:pt x="1319" y="118"/>
                  <a:pt x="1316" y="112"/>
                  <a:pt x="1313" y="108"/>
                </a:cubicBezTo>
                <a:cubicBezTo>
                  <a:pt x="1309" y="103"/>
                  <a:pt x="1305" y="100"/>
                  <a:pt x="1301" y="97"/>
                </a:cubicBezTo>
                <a:cubicBezTo>
                  <a:pt x="1293" y="91"/>
                  <a:pt x="1285" y="88"/>
                  <a:pt x="1279" y="86"/>
                </a:cubicBezTo>
                <a:cubicBezTo>
                  <a:pt x="1280" y="86"/>
                  <a:pt x="1280" y="86"/>
                  <a:pt x="1278" y="85"/>
                </a:cubicBezTo>
                <a:cubicBezTo>
                  <a:pt x="1272" y="83"/>
                  <a:pt x="1269" y="82"/>
                  <a:pt x="1262" y="80"/>
                </a:cubicBezTo>
                <a:cubicBezTo>
                  <a:pt x="1239" y="73"/>
                  <a:pt x="1219" y="70"/>
                  <a:pt x="1199" y="67"/>
                </a:cubicBezTo>
                <a:cubicBezTo>
                  <a:pt x="1180" y="64"/>
                  <a:pt x="1162" y="61"/>
                  <a:pt x="1142" y="58"/>
                </a:cubicBezTo>
                <a:cubicBezTo>
                  <a:pt x="1137" y="58"/>
                  <a:pt x="1123" y="55"/>
                  <a:pt x="1119" y="55"/>
                </a:cubicBezTo>
                <a:cubicBezTo>
                  <a:pt x="1126" y="56"/>
                  <a:pt x="1135" y="57"/>
                  <a:pt x="1134" y="57"/>
                </a:cubicBezTo>
                <a:cubicBezTo>
                  <a:pt x="1122" y="56"/>
                  <a:pt x="1106" y="54"/>
                  <a:pt x="1098" y="53"/>
                </a:cubicBezTo>
                <a:cubicBezTo>
                  <a:pt x="1083" y="51"/>
                  <a:pt x="1076" y="50"/>
                  <a:pt x="1062" y="49"/>
                </a:cubicBezTo>
                <a:cubicBezTo>
                  <a:pt x="1059" y="48"/>
                  <a:pt x="1065" y="49"/>
                  <a:pt x="1058" y="48"/>
                </a:cubicBezTo>
                <a:cubicBezTo>
                  <a:pt x="1037" y="46"/>
                  <a:pt x="1027" y="45"/>
                  <a:pt x="1008" y="43"/>
                </a:cubicBezTo>
                <a:cubicBezTo>
                  <a:pt x="1003" y="43"/>
                  <a:pt x="980" y="41"/>
                  <a:pt x="974" y="41"/>
                </a:cubicBezTo>
                <a:cubicBezTo>
                  <a:pt x="968" y="40"/>
                  <a:pt x="980" y="41"/>
                  <a:pt x="975" y="41"/>
                </a:cubicBezTo>
                <a:cubicBezTo>
                  <a:pt x="927" y="38"/>
                  <a:pt x="927" y="38"/>
                  <a:pt x="927" y="38"/>
                </a:cubicBezTo>
                <a:cubicBezTo>
                  <a:pt x="923" y="38"/>
                  <a:pt x="920" y="38"/>
                  <a:pt x="914" y="38"/>
                </a:cubicBezTo>
                <a:cubicBezTo>
                  <a:pt x="909" y="37"/>
                  <a:pt x="915" y="37"/>
                  <a:pt x="908" y="37"/>
                </a:cubicBezTo>
                <a:cubicBezTo>
                  <a:pt x="902" y="37"/>
                  <a:pt x="913" y="38"/>
                  <a:pt x="912" y="38"/>
                </a:cubicBezTo>
                <a:cubicBezTo>
                  <a:pt x="903" y="37"/>
                  <a:pt x="905" y="38"/>
                  <a:pt x="900" y="38"/>
                </a:cubicBezTo>
                <a:cubicBezTo>
                  <a:pt x="888" y="37"/>
                  <a:pt x="880" y="37"/>
                  <a:pt x="869" y="37"/>
                </a:cubicBezTo>
                <a:cubicBezTo>
                  <a:pt x="835" y="36"/>
                  <a:pt x="835" y="36"/>
                  <a:pt x="835" y="36"/>
                </a:cubicBezTo>
                <a:cubicBezTo>
                  <a:pt x="811" y="36"/>
                  <a:pt x="811" y="36"/>
                  <a:pt x="811" y="36"/>
                </a:cubicBezTo>
                <a:cubicBezTo>
                  <a:pt x="786" y="36"/>
                  <a:pt x="786" y="36"/>
                  <a:pt x="786" y="36"/>
                </a:cubicBezTo>
                <a:cubicBezTo>
                  <a:pt x="781" y="36"/>
                  <a:pt x="790" y="36"/>
                  <a:pt x="782" y="36"/>
                </a:cubicBezTo>
                <a:cubicBezTo>
                  <a:pt x="749" y="36"/>
                  <a:pt x="716" y="37"/>
                  <a:pt x="692" y="38"/>
                </a:cubicBezTo>
                <a:cubicBezTo>
                  <a:pt x="729" y="36"/>
                  <a:pt x="757" y="36"/>
                  <a:pt x="790" y="36"/>
                </a:cubicBezTo>
                <a:cubicBezTo>
                  <a:pt x="795" y="36"/>
                  <a:pt x="804" y="36"/>
                  <a:pt x="809" y="36"/>
                </a:cubicBezTo>
                <a:cubicBezTo>
                  <a:pt x="811" y="36"/>
                  <a:pt x="804" y="36"/>
                  <a:pt x="811" y="36"/>
                </a:cubicBezTo>
                <a:cubicBezTo>
                  <a:pt x="818" y="36"/>
                  <a:pt x="818" y="36"/>
                  <a:pt x="818" y="36"/>
                </a:cubicBezTo>
                <a:cubicBezTo>
                  <a:pt x="814" y="36"/>
                  <a:pt x="821" y="36"/>
                  <a:pt x="823" y="37"/>
                </a:cubicBezTo>
                <a:cubicBezTo>
                  <a:pt x="851" y="37"/>
                  <a:pt x="873" y="37"/>
                  <a:pt x="898" y="38"/>
                </a:cubicBezTo>
                <a:cubicBezTo>
                  <a:pt x="902" y="38"/>
                  <a:pt x="894" y="38"/>
                  <a:pt x="900" y="38"/>
                </a:cubicBezTo>
                <a:cubicBezTo>
                  <a:pt x="927" y="39"/>
                  <a:pt x="927" y="39"/>
                  <a:pt x="927" y="39"/>
                </a:cubicBezTo>
                <a:cubicBezTo>
                  <a:pt x="930" y="40"/>
                  <a:pt x="937" y="40"/>
                  <a:pt x="933" y="40"/>
                </a:cubicBezTo>
                <a:cubicBezTo>
                  <a:pt x="901" y="38"/>
                  <a:pt x="856" y="37"/>
                  <a:pt x="817" y="37"/>
                </a:cubicBezTo>
                <a:cubicBezTo>
                  <a:pt x="806" y="37"/>
                  <a:pt x="793" y="37"/>
                  <a:pt x="787" y="37"/>
                </a:cubicBezTo>
                <a:cubicBezTo>
                  <a:pt x="804" y="37"/>
                  <a:pt x="818" y="37"/>
                  <a:pt x="833" y="38"/>
                </a:cubicBezTo>
                <a:cubicBezTo>
                  <a:pt x="853" y="38"/>
                  <a:pt x="874" y="38"/>
                  <a:pt x="893" y="39"/>
                </a:cubicBezTo>
                <a:cubicBezTo>
                  <a:pt x="906" y="40"/>
                  <a:pt x="906" y="40"/>
                  <a:pt x="906" y="40"/>
                </a:cubicBezTo>
                <a:cubicBezTo>
                  <a:pt x="920" y="40"/>
                  <a:pt x="920" y="40"/>
                  <a:pt x="920" y="40"/>
                </a:cubicBezTo>
                <a:cubicBezTo>
                  <a:pt x="929" y="41"/>
                  <a:pt x="929" y="41"/>
                  <a:pt x="929" y="41"/>
                </a:cubicBezTo>
                <a:cubicBezTo>
                  <a:pt x="937" y="41"/>
                  <a:pt x="944" y="41"/>
                  <a:pt x="953" y="42"/>
                </a:cubicBezTo>
                <a:cubicBezTo>
                  <a:pt x="968" y="43"/>
                  <a:pt x="983" y="44"/>
                  <a:pt x="999" y="46"/>
                </a:cubicBezTo>
                <a:cubicBezTo>
                  <a:pt x="1002" y="46"/>
                  <a:pt x="1001" y="46"/>
                  <a:pt x="997" y="46"/>
                </a:cubicBezTo>
                <a:cubicBezTo>
                  <a:pt x="977" y="44"/>
                  <a:pt x="974" y="44"/>
                  <a:pt x="954" y="43"/>
                </a:cubicBezTo>
                <a:cubicBezTo>
                  <a:pt x="956" y="43"/>
                  <a:pt x="958" y="43"/>
                  <a:pt x="957" y="43"/>
                </a:cubicBezTo>
                <a:cubicBezTo>
                  <a:pt x="951" y="43"/>
                  <a:pt x="949" y="42"/>
                  <a:pt x="945" y="42"/>
                </a:cubicBezTo>
                <a:cubicBezTo>
                  <a:pt x="960" y="43"/>
                  <a:pt x="958" y="43"/>
                  <a:pt x="953" y="43"/>
                </a:cubicBezTo>
                <a:cubicBezTo>
                  <a:pt x="916" y="41"/>
                  <a:pt x="870" y="39"/>
                  <a:pt x="840" y="39"/>
                </a:cubicBezTo>
                <a:cubicBezTo>
                  <a:pt x="836" y="39"/>
                  <a:pt x="834" y="39"/>
                  <a:pt x="829" y="39"/>
                </a:cubicBezTo>
                <a:cubicBezTo>
                  <a:pt x="794" y="38"/>
                  <a:pt x="755" y="38"/>
                  <a:pt x="718" y="40"/>
                </a:cubicBezTo>
                <a:cubicBezTo>
                  <a:pt x="761" y="39"/>
                  <a:pt x="805" y="38"/>
                  <a:pt x="854" y="39"/>
                </a:cubicBezTo>
                <a:cubicBezTo>
                  <a:pt x="856" y="39"/>
                  <a:pt x="854" y="39"/>
                  <a:pt x="859" y="40"/>
                </a:cubicBezTo>
                <a:cubicBezTo>
                  <a:pt x="880" y="40"/>
                  <a:pt x="904" y="41"/>
                  <a:pt x="920" y="42"/>
                </a:cubicBezTo>
                <a:cubicBezTo>
                  <a:pt x="941" y="44"/>
                  <a:pt x="941" y="44"/>
                  <a:pt x="941" y="44"/>
                </a:cubicBezTo>
                <a:cubicBezTo>
                  <a:pt x="993" y="47"/>
                  <a:pt x="1030" y="51"/>
                  <a:pt x="1079" y="57"/>
                </a:cubicBezTo>
                <a:cubicBezTo>
                  <a:pt x="1079" y="57"/>
                  <a:pt x="1082" y="57"/>
                  <a:pt x="1084" y="57"/>
                </a:cubicBezTo>
                <a:cubicBezTo>
                  <a:pt x="1073" y="57"/>
                  <a:pt x="1073" y="57"/>
                  <a:pt x="1073" y="57"/>
                </a:cubicBezTo>
                <a:cubicBezTo>
                  <a:pt x="1049" y="54"/>
                  <a:pt x="1049" y="54"/>
                  <a:pt x="1049" y="54"/>
                </a:cubicBezTo>
                <a:cubicBezTo>
                  <a:pt x="1008" y="50"/>
                  <a:pt x="950" y="45"/>
                  <a:pt x="898" y="43"/>
                </a:cubicBezTo>
                <a:cubicBezTo>
                  <a:pt x="892" y="43"/>
                  <a:pt x="897" y="43"/>
                  <a:pt x="901" y="44"/>
                </a:cubicBezTo>
                <a:cubicBezTo>
                  <a:pt x="926" y="45"/>
                  <a:pt x="948" y="46"/>
                  <a:pt x="975" y="48"/>
                </a:cubicBezTo>
                <a:cubicBezTo>
                  <a:pt x="984" y="50"/>
                  <a:pt x="974" y="49"/>
                  <a:pt x="954" y="48"/>
                </a:cubicBezTo>
                <a:cubicBezTo>
                  <a:pt x="937" y="47"/>
                  <a:pt x="914" y="45"/>
                  <a:pt x="893" y="45"/>
                </a:cubicBezTo>
                <a:cubicBezTo>
                  <a:pt x="871" y="44"/>
                  <a:pt x="851" y="43"/>
                  <a:pt x="841" y="43"/>
                </a:cubicBezTo>
                <a:cubicBezTo>
                  <a:pt x="791" y="42"/>
                  <a:pt x="742" y="43"/>
                  <a:pt x="693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8" y="45"/>
                  <a:pt x="688" y="45"/>
                  <a:pt x="688" y="45"/>
                </a:cubicBezTo>
                <a:cubicBezTo>
                  <a:pt x="686" y="45"/>
                  <a:pt x="686" y="45"/>
                  <a:pt x="686" y="45"/>
                </a:cubicBezTo>
                <a:cubicBezTo>
                  <a:pt x="686" y="45"/>
                  <a:pt x="687" y="45"/>
                  <a:pt x="688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92" y="45"/>
                  <a:pt x="692" y="45"/>
                  <a:pt x="692" y="45"/>
                </a:cubicBezTo>
                <a:cubicBezTo>
                  <a:pt x="701" y="45"/>
                  <a:pt x="701" y="45"/>
                  <a:pt x="701" y="45"/>
                </a:cubicBezTo>
                <a:cubicBezTo>
                  <a:pt x="701" y="45"/>
                  <a:pt x="703" y="44"/>
                  <a:pt x="707" y="44"/>
                </a:cubicBezTo>
                <a:cubicBezTo>
                  <a:pt x="756" y="43"/>
                  <a:pt x="811" y="43"/>
                  <a:pt x="855" y="43"/>
                </a:cubicBezTo>
                <a:cubicBezTo>
                  <a:pt x="873" y="44"/>
                  <a:pt x="908" y="45"/>
                  <a:pt x="926" y="47"/>
                </a:cubicBezTo>
                <a:cubicBezTo>
                  <a:pt x="922" y="47"/>
                  <a:pt x="907" y="46"/>
                  <a:pt x="888" y="46"/>
                </a:cubicBezTo>
                <a:cubicBezTo>
                  <a:pt x="907" y="46"/>
                  <a:pt x="925" y="48"/>
                  <a:pt x="941" y="49"/>
                </a:cubicBezTo>
                <a:cubicBezTo>
                  <a:pt x="955" y="49"/>
                  <a:pt x="978" y="51"/>
                  <a:pt x="985" y="52"/>
                </a:cubicBezTo>
                <a:cubicBezTo>
                  <a:pt x="986" y="52"/>
                  <a:pt x="984" y="52"/>
                  <a:pt x="985" y="52"/>
                </a:cubicBezTo>
                <a:cubicBezTo>
                  <a:pt x="986" y="52"/>
                  <a:pt x="996" y="53"/>
                  <a:pt x="997" y="53"/>
                </a:cubicBezTo>
                <a:cubicBezTo>
                  <a:pt x="1004" y="53"/>
                  <a:pt x="1003" y="53"/>
                  <a:pt x="1011" y="54"/>
                </a:cubicBezTo>
                <a:cubicBezTo>
                  <a:pt x="1022" y="55"/>
                  <a:pt x="1022" y="55"/>
                  <a:pt x="1029" y="56"/>
                </a:cubicBezTo>
                <a:cubicBezTo>
                  <a:pt x="1067" y="59"/>
                  <a:pt x="1104" y="64"/>
                  <a:pt x="1142" y="69"/>
                </a:cubicBezTo>
                <a:cubicBezTo>
                  <a:pt x="1154" y="71"/>
                  <a:pt x="1154" y="71"/>
                  <a:pt x="1154" y="71"/>
                </a:cubicBezTo>
                <a:cubicBezTo>
                  <a:pt x="1158" y="72"/>
                  <a:pt x="1155" y="72"/>
                  <a:pt x="1159" y="72"/>
                </a:cubicBezTo>
                <a:cubicBezTo>
                  <a:pt x="1162" y="73"/>
                  <a:pt x="1161" y="72"/>
                  <a:pt x="1165" y="73"/>
                </a:cubicBezTo>
                <a:cubicBezTo>
                  <a:pt x="1179" y="75"/>
                  <a:pt x="1196" y="78"/>
                  <a:pt x="1211" y="81"/>
                </a:cubicBezTo>
                <a:cubicBezTo>
                  <a:pt x="1229" y="84"/>
                  <a:pt x="1249" y="88"/>
                  <a:pt x="1267" y="94"/>
                </a:cubicBezTo>
                <a:cubicBezTo>
                  <a:pt x="1275" y="97"/>
                  <a:pt x="1284" y="101"/>
                  <a:pt x="1291" y="105"/>
                </a:cubicBezTo>
                <a:cubicBezTo>
                  <a:pt x="1298" y="109"/>
                  <a:pt x="1303" y="114"/>
                  <a:pt x="1305" y="119"/>
                </a:cubicBezTo>
                <a:cubicBezTo>
                  <a:pt x="1306" y="122"/>
                  <a:pt x="1306" y="121"/>
                  <a:pt x="1306" y="121"/>
                </a:cubicBezTo>
                <a:cubicBezTo>
                  <a:pt x="1306" y="121"/>
                  <a:pt x="1306" y="121"/>
                  <a:pt x="1307" y="124"/>
                </a:cubicBezTo>
                <a:cubicBezTo>
                  <a:pt x="1307" y="125"/>
                  <a:pt x="1307" y="126"/>
                  <a:pt x="1307" y="126"/>
                </a:cubicBezTo>
                <a:cubicBezTo>
                  <a:pt x="1307" y="127"/>
                  <a:pt x="1306" y="127"/>
                  <a:pt x="1306" y="128"/>
                </a:cubicBezTo>
                <a:cubicBezTo>
                  <a:pt x="1304" y="130"/>
                  <a:pt x="1302" y="132"/>
                  <a:pt x="1300" y="134"/>
                </a:cubicBezTo>
                <a:cubicBezTo>
                  <a:pt x="1296" y="138"/>
                  <a:pt x="1291" y="142"/>
                  <a:pt x="1285" y="145"/>
                </a:cubicBezTo>
                <a:cubicBezTo>
                  <a:pt x="1274" y="152"/>
                  <a:pt x="1262" y="158"/>
                  <a:pt x="1250" y="163"/>
                </a:cubicBezTo>
                <a:cubicBezTo>
                  <a:pt x="1247" y="164"/>
                  <a:pt x="1244" y="165"/>
                  <a:pt x="1241" y="166"/>
                </a:cubicBezTo>
                <a:cubicBezTo>
                  <a:pt x="1231" y="169"/>
                  <a:pt x="1231" y="169"/>
                  <a:pt x="1231" y="169"/>
                </a:cubicBezTo>
                <a:cubicBezTo>
                  <a:pt x="1224" y="171"/>
                  <a:pt x="1218" y="173"/>
                  <a:pt x="1211" y="175"/>
                </a:cubicBezTo>
                <a:cubicBezTo>
                  <a:pt x="1198" y="178"/>
                  <a:pt x="1184" y="182"/>
                  <a:pt x="1171" y="185"/>
                </a:cubicBezTo>
                <a:cubicBezTo>
                  <a:pt x="1167" y="186"/>
                  <a:pt x="1170" y="185"/>
                  <a:pt x="1164" y="186"/>
                </a:cubicBezTo>
                <a:cubicBezTo>
                  <a:pt x="1156" y="188"/>
                  <a:pt x="1158" y="188"/>
                  <a:pt x="1152" y="189"/>
                </a:cubicBezTo>
                <a:cubicBezTo>
                  <a:pt x="1147" y="190"/>
                  <a:pt x="1144" y="191"/>
                  <a:pt x="1141" y="191"/>
                </a:cubicBezTo>
                <a:cubicBezTo>
                  <a:pt x="1110" y="197"/>
                  <a:pt x="1078" y="201"/>
                  <a:pt x="1045" y="205"/>
                </a:cubicBezTo>
                <a:cubicBezTo>
                  <a:pt x="1013" y="208"/>
                  <a:pt x="980" y="210"/>
                  <a:pt x="947" y="213"/>
                </a:cubicBezTo>
                <a:cubicBezTo>
                  <a:pt x="885" y="217"/>
                  <a:pt x="823" y="220"/>
                  <a:pt x="765" y="221"/>
                </a:cubicBezTo>
                <a:cubicBezTo>
                  <a:pt x="719" y="222"/>
                  <a:pt x="675" y="223"/>
                  <a:pt x="633" y="222"/>
                </a:cubicBezTo>
                <a:cubicBezTo>
                  <a:pt x="578" y="222"/>
                  <a:pt x="530" y="221"/>
                  <a:pt x="478" y="219"/>
                </a:cubicBezTo>
                <a:cubicBezTo>
                  <a:pt x="441" y="218"/>
                  <a:pt x="400" y="216"/>
                  <a:pt x="368" y="214"/>
                </a:cubicBezTo>
                <a:cubicBezTo>
                  <a:pt x="350" y="214"/>
                  <a:pt x="350" y="214"/>
                  <a:pt x="350" y="214"/>
                </a:cubicBezTo>
                <a:cubicBezTo>
                  <a:pt x="321" y="212"/>
                  <a:pt x="321" y="212"/>
                  <a:pt x="321" y="212"/>
                </a:cubicBezTo>
                <a:cubicBezTo>
                  <a:pt x="296" y="210"/>
                  <a:pt x="270" y="209"/>
                  <a:pt x="244" y="206"/>
                </a:cubicBezTo>
                <a:cubicBezTo>
                  <a:pt x="215" y="204"/>
                  <a:pt x="188" y="201"/>
                  <a:pt x="160" y="198"/>
                </a:cubicBezTo>
                <a:cubicBezTo>
                  <a:pt x="144" y="196"/>
                  <a:pt x="129" y="194"/>
                  <a:pt x="114" y="191"/>
                </a:cubicBezTo>
                <a:cubicBezTo>
                  <a:pt x="103" y="189"/>
                  <a:pt x="93" y="187"/>
                  <a:pt x="82" y="185"/>
                </a:cubicBezTo>
                <a:cubicBezTo>
                  <a:pt x="68" y="182"/>
                  <a:pt x="53" y="178"/>
                  <a:pt x="40" y="172"/>
                </a:cubicBezTo>
                <a:cubicBezTo>
                  <a:pt x="33" y="170"/>
                  <a:pt x="26" y="166"/>
                  <a:pt x="22" y="163"/>
                </a:cubicBezTo>
                <a:cubicBezTo>
                  <a:pt x="17" y="159"/>
                  <a:pt x="14" y="154"/>
                  <a:pt x="14" y="149"/>
                </a:cubicBezTo>
                <a:cubicBezTo>
                  <a:pt x="14" y="144"/>
                  <a:pt x="19" y="137"/>
                  <a:pt x="26" y="131"/>
                </a:cubicBezTo>
                <a:cubicBezTo>
                  <a:pt x="33" y="126"/>
                  <a:pt x="41" y="121"/>
                  <a:pt x="50" y="117"/>
                </a:cubicBezTo>
                <a:cubicBezTo>
                  <a:pt x="67" y="108"/>
                  <a:pt x="85" y="101"/>
                  <a:pt x="103" y="95"/>
                </a:cubicBezTo>
                <a:cubicBezTo>
                  <a:pt x="144" y="82"/>
                  <a:pt x="195" y="70"/>
                  <a:pt x="235" y="61"/>
                </a:cubicBezTo>
                <a:cubicBezTo>
                  <a:pt x="268" y="55"/>
                  <a:pt x="302" y="49"/>
                  <a:pt x="340" y="44"/>
                </a:cubicBezTo>
                <a:cubicBezTo>
                  <a:pt x="350" y="42"/>
                  <a:pt x="350" y="42"/>
                  <a:pt x="350" y="42"/>
                </a:cubicBezTo>
                <a:cubicBezTo>
                  <a:pt x="407" y="35"/>
                  <a:pt x="471" y="28"/>
                  <a:pt x="517" y="25"/>
                </a:cubicBezTo>
                <a:cubicBezTo>
                  <a:pt x="534" y="24"/>
                  <a:pt x="549" y="23"/>
                  <a:pt x="565" y="22"/>
                </a:cubicBezTo>
                <a:cubicBezTo>
                  <a:pt x="583" y="21"/>
                  <a:pt x="599" y="20"/>
                  <a:pt x="616" y="19"/>
                </a:cubicBezTo>
                <a:cubicBezTo>
                  <a:pt x="632" y="19"/>
                  <a:pt x="632" y="19"/>
                  <a:pt x="632" y="19"/>
                </a:cubicBezTo>
                <a:cubicBezTo>
                  <a:pt x="649" y="18"/>
                  <a:pt x="666" y="17"/>
                  <a:pt x="684" y="17"/>
                </a:cubicBezTo>
                <a:cubicBezTo>
                  <a:pt x="712" y="16"/>
                  <a:pt x="742" y="16"/>
                  <a:pt x="774" y="16"/>
                </a:cubicBezTo>
                <a:cubicBezTo>
                  <a:pt x="799" y="16"/>
                  <a:pt x="836" y="16"/>
                  <a:pt x="864" y="16"/>
                </a:cubicBezTo>
                <a:cubicBezTo>
                  <a:pt x="912" y="18"/>
                  <a:pt x="961" y="19"/>
                  <a:pt x="1010" y="23"/>
                </a:cubicBezTo>
                <a:cubicBezTo>
                  <a:pt x="1026" y="24"/>
                  <a:pt x="1041" y="26"/>
                  <a:pt x="1058" y="27"/>
                </a:cubicBezTo>
                <a:cubicBezTo>
                  <a:pt x="1075" y="29"/>
                  <a:pt x="1096" y="31"/>
                  <a:pt x="1117" y="35"/>
                </a:cubicBezTo>
                <a:cubicBezTo>
                  <a:pt x="1123" y="36"/>
                  <a:pt x="1123" y="36"/>
                  <a:pt x="1123" y="36"/>
                </a:cubicBezTo>
                <a:cubicBezTo>
                  <a:pt x="1123" y="36"/>
                  <a:pt x="1123" y="36"/>
                  <a:pt x="1123" y="36"/>
                </a:cubicBezTo>
                <a:cubicBezTo>
                  <a:pt x="1124" y="36"/>
                  <a:pt x="1124" y="36"/>
                  <a:pt x="1124" y="36"/>
                </a:cubicBezTo>
                <a:cubicBezTo>
                  <a:pt x="1125" y="36"/>
                  <a:pt x="1125" y="36"/>
                  <a:pt x="1125" y="36"/>
                </a:cubicBezTo>
                <a:cubicBezTo>
                  <a:pt x="1125" y="36"/>
                  <a:pt x="1127" y="36"/>
                  <a:pt x="1127" y="37"/>
                </a:cubicBezTo>
                <a:cubicBezTo>
                  <a:pt x="1127" y="38"/>
                  <a:pt x="1128" y="36"/>
                  <a:pt x="1129" y="37"/>
                </a:cubicBezTo>
                <a:cubicBezTo>
                  <a:pt x="1129" y="37"/>
                  <a:pt x="1129" y="37"/>
                  <a:pt x="1129" y="38"/>
                </a:cubicBezTo>
                <a:cubicBezTo>
                  <a:pt x="1129" y="38"/>
                  <a:pt x="1129" y="38"/>
                  <a:pt x="1130" y="38"/>
                </a:cubicBezTo>
                <a:cubicBezTo>
                  <a:pt x="1130" y="38"/>
                  <a:pt x="1130" y="39"/>
                  <a:pt x="1131" y="39"/>
                </a:cubicBezTo>
                <a:cubicBezTo>
                  <a:pt x="1131" y="39"/>
                  <a:pt x="1131" y="39"/>
                  <a:pt x="1131" y="39"/>
                </a:cubicBezTo>
                <a:cubicBezTo>
                  <a:pt x="1132" y="39"/>
                  <a:pt x="1132" y="39"/>
                  <a:pt x="1133" y="39"/>
                </a:cubicBezTo>
                <a:cubicBezTo>
                  <a:pt x="1133" y="39"/>
                  <a:pt x="1134" y="39"/>
                  <a:pt x="1134" y="39"/>
                </a:cubicBezTo>
                <a:cubicBezTo>
                  <a:pt x="1135" y="39"/>
                  <a:pt x="1135" y="39"/>
                  <a:pt x="1135" y="39"/>
                </a:cubicBezTo>
                <a:cubicBezTo>
                  <a:pt x="1136" y="39"/>
                  <a:pt x="1136" y="39"/>
                  <a:pt x="1137" y="38"/>
                </a:cubicBezTo>
                <a:cubicBezTo>
                  <a:pt x="1137" y="38"/>
                  <a:pt x="1138" y="38"/>
                  <a:pt x="1138" y="38"/>
                </a:cubicBezTo>
                <a:cubicBezTo>
                  <a:pt x="1138" y="38"/>
                  <a:pt x="1139" y="38"/>
                  <a:pt x="1139" y="38"/>
                </a:cubicBezTo>
                <a:cubicBezTo>
                  <a:pt x="1140" y="37"/>
                  <a:pt x="1141" y="36"/>
                  <a:pt x="1142" y="36"/>
                </a:cubicBezTo>
                <a:cubicBezTo>
                  <a:pt x="1142" y="36"/>
                  <a:pt x="1142" y="35"/>
                  <a:pt x="1143" y="35"/>
                </a:cubicBezTo>
                <a:cubicBezTo>
                  <a:pt x="1143" y="35"/>
                  <a:pt x="1143" y="35"/>
                  <a:pt x="1143" y="35"/>
                </a:cubicBezTo>
                <a:cubicBezTo>
                  <a:pt x="1143" y="34"/>
                  <a:pt x="1143" y="33"/>
                  <a:pt x="1144" y="33"/>
                </a:cubicBezTo>
                <a:cubicBezTo>
                  <a:pt x="1144" y="33"/>
                  <a:pt x="1144" y="33"/>
                  <a:pt x="1144" y="33"/>
                </a:cubicBezTo>
                <a:cubicBezTo>
                  <a:pt x="1144" y="32"/>
                  <a:pt x="1144" y="31"/>
                  <a:pt x="1144" y="30"/>
                </a:cubicBezTo>
                <a:cubicBezTo>
                  <a:pt x="1144" y="29"/>
                  <a:pt x="1144" y="28"/>
                  <a:pt x="1144" y="28"/>
                </a:cubicBezTo>
                <a:cubicBezTo>
                  <a:pt x="1144" y="28"/>
                  <a:pt x="1144" y="27"/>
                  <a:pt x="1144" y="27"/>
                </a:cubicBezTo>
                <a:cubicBezTo>
                  <a:pt x="1144" y="26"/>
                  <a:pt x="1143" y="26"/>
                  <a:pt x="1143" y="26"/>
                </a:cubicBezTo>
                <a:cubicBezTo>
                  <a:pt x="1143" y="25"/>
                  <a:pt x="1143" y="25"/>
                  <a:pt x="1143" y="25"/>
                </a:cubicBezTo>
                <a:cubicBezTo>
                  <a:pt x="1143" y="25"/>
                  <a:pt x="1142" y="24"/>
                  <a:pt x="1142" y="24"/>
                </a:cubicBezTo>
                <a:cubicBezTo>
                  <a:pt x="1142" y="24"/>
                  <a:pt x="1142" y="24"/>
                  <a:pt x="1142" y="24"/>
                </a:cubicBezTo>
                <a:cubicBezTo>
                  <a:pt x="1141" y="23"/>
                  <a:pt x="1141" y="22"/>
                  <a:pt x="1140" y="22"/>
                </a:cubicBezTo>
                <a:cubicBezTo>
                  <a:pt x="1140" y="22"/>
                  <a:pt x="1139" y="21"/>
                  <a:pt x="1139" y="21"/>
                </a:cubicBezTo>
                <a:cubicBezTo>
                  <a:pt x="1138" y="21"/>
                  <a:pt x="1137" y="21"/>
                  <a:pt x="1137" y="20"/>
                </a:cubicBezTo>
                <a:cubicBezTo>
                  <a:pt x="1137" y="20"/>
                  <a:pt x="1137" y="20"/>
                  <a:pt x="1137" y="20"/>
                </a:cubicBezTo>
                <a:cubicBezTo>
                  <a:pt x="1137" y="20"/>
                  <a:pt x="1136" y="20"/>
                  <a:pt x="1136" y="20"/>
                </a:cubicBezTo>
                <a:cubicBezTo>
                  <a:pt x="1136" y="20"/>
                  <a:pt x="1135" y="20"/>
                  <a:pt x="1135" y="20"/>
                </a:cubicBezTo>
                <a:cubicBezTo>
                  <a:pt x="1135" y="20"/>
                  <a:pt x="1134" y="19"/>
                  <a:pt x="1134" y="19"/>
                </a:cubicBezTo>
                <a:cubicBezTo>
                  <a:pt x="1134" y="19"/>
                  <a:pt x="1134" y="20"/>
                  <a:pt x="1133" y="20"/>
                </a:cubicBezTo>
                <a:cubicBezTo>
                  <a:pt x="1133" y="20"/>
                  <a:pt x="1132" y="19"/>
                  <a:pt x="1132" y="19"/>
                </a:cubicBezTo>
                <a:cubicBezTo>
                  <a:pt x="1131" y="19"/>
                  <a:pt x="1131" y="19"/>
                  <a:pt x="1131" y="19"/>
                </a:cubicBezTo>
                <a:cubicBezTo>
                  <a:pt x="1131" y="19"/>
                  <a:pt x="1130" y="19"/>
                  <a:pt x="1130" y="20"/>
                </a:cubicBezTo>
                <a:cubicBezTo>
                  <a:pt x="1130" y="20"/>
                  <a:pt x="1128" y="19"/>
                  <a:pt x="1127" y="20"/>
                </a:cubicBezTo>
                <a:cubicBezTo>
                  <a:pt x="1127" y="19"/>
                  <a:pt x="1127" y="19"/>
                  <a:pt x="1126" y="19"/>
                </a:cubicBezTo>
                <a:cubicBezTo>
                  <a:pt x="1126" y="19"/>
                  <a:pt x="1126" y="19"/>
                  <a:pt x="1126" y="19"/>
                </a:cubicBezTo>
                <a:cubicBezTo>
                  <a:pt x="1126" y="19"/>
                  <a:pt x="1126" y="19"/>
                  <a:pt x="1126" y="19"/>
                </a:cubicBezTo>
                <a:cubicBezTo>
                  <a:pt x="1122" y="19"/>
                  <a:pt x="1122" y="19"/>
                  <a:pt x="1122" y="19"/>
                </a:cubicBezTo>
                <a:cubicBezTo>
                  <a:pt x="1103" y="16"/>
                  <a:pt x="1103" y="16"/>
                  <a:pt x="1103" y="16"/>
                </a:cubicBezTo>
                <a:cubicBezTo>
                  <a:pt x="1098" y="15"/>
                  <a:pt x="1092" y="15"/>
                  <a:pt x="1087" y="14"/>
                </a:cubicBezTo>
                <a:cubicBezTo>
                  <a:pt x="1078" y="13"/>
                  <a:pt x="1067" y="12"/>
                  <a:pt x="1056" y="11"/>
                </a:cubicBezTo>
                <a:cubicBezTo>
                  <a:pt x="1037" y="9"/>
                  <a:pt x="1021" y="8"/>
                  <a:pt x="1005" y="7"/>
                </a:cubicBezTo>
                <a:cubicBezTo>
                  <a:pt x="981" y="5"/>
                  <a:pt x="964" y="4"/>
                  <a:pt x="944" y="3"/>
                </a:cubicBezTo>
                <a:cubicBezTo>
                  <a:pt x="920" y="2"/>
                  <a:pt x="920" y="2"/>
                  <a:pt x="920" y="2"/>
                </a:cubicBezTo>
                <a:cubicBezTo>
                  <a:pt x="898" y="2"/>
                  <a:pt x="898" y="2"/>
                  <a:pt x="898" y="2"/>
                </a:cubicBezTo>
                <a:cubicBezTo>
                  <a:pt x="875" y="1"/>
                  <a:pt x="875" y="1"/>
                  <a:pt x="875" y="1"/>
                </a:cubicBezTo>
                <a:cubicBezTo>
                  <a:pt x="860" y="1"/>
                  <a:pt x="860" y="1"/>
                  <a:pt x="860" y="1"/>
                </a:cubicBezTo>
                <a:cubicBezTo>
                  <a:pt x="844" y="0"/>
                  <a:pt x="844" y="0"/>
                  <a:pt x="844" y="0"/>
                </a:cubicBezTo>
                <a:cubicBezTo>
                  <a:pt x="824" y="0"/>
                  <a:pt x="824" y="0"/>
                  <a:pt x="824" y="0"/>
                </a:cubicBezTo>
                <a:cubicBezTo>
                  <a:pt x="800" y="0"/>
                  <a:pt x="773" y="0"/>
                  <a:pt x="750" y="1"/>
                </a:cubicBezTo>
                <a:cubicBezTo>
                  <a:pt x="708" y="1"/>
                  <a:pt x="671" y="2"/>
                  <a:pt x="622" y="4"/>
                </a:cubicBezTo>
                <a:cubicBezTo>
                  <a:pt x="587" y="6"/>
                  <a:pt x="587" y="6"/>
                  <a:pt x="587" y="6"/>
                </a:cubicBezTo>
                <a:cubicBezTo>
                  <a:pt x="584" y="6"/>
                  <a:pt x="584" y="6"/>
                  <a:pt x="580" y="6"/>
                </a:cubicBezTo>
                <a:cubicBezTo>
                  <a:pt x="554" y="7"/>
                  <a:pt x="527" y="10"/>
                  <a:pt x="500" y="11"/>
                </a:cubicBezTo>
                <a:cubicBezTo>
                  <a:pt x="497" y="12"/>
                  <a:pt x="497" y="12"/>
                  <a:pt x="497" y="12"/>
                </a:cubicBezTo>
                <a:cubicBezTo>
                  <a:pt x="460" y="14"/>
                  <a:pt x="414" y="19"/>
                  <a:pt x="385" y="23"/>
                </a:cubicBezTo>
                <a:cubicBezTo>
                  <a:pt x="363" y="25"/>
                  <a:pt x="337" y="29"/>
                  <a:pt x="309" y="33"/>
                </a:cubicBezTo>
                <a:cubicBezTo>
                  <a:pt x="297" y="35"/>
                  <a:pt x="284" y="37"/>
                  <a:pt x="272" y="39"/>
                </a:cubicBezTo>
                <a:cubicBezTo>
                  <a:pt x="249" y="44"/>
                  <a:pt x="218" y="50"/>
                  <a:pt x="196" y="55"/>
                </a:cubicBezTo>
                <a:cubicBezTo>
                  <a:pt x="176" y="60"/>
                  <a:pt x="176" y="60"/>
                  <a:pt x="176" y="60"/>
                </a:cubicBezTo>
                <a:cubicBezTo>
                  <a:pt x="164" y="63"/>
                  <a:pt x="152" y="66"/>
                  <a:pt x="139" y="69"/>
                </a:cubicBezTo>
                <a:cubicBezTo>
                  <a:pt x="115" y="76"/>
                  <a:pt x="89" y="84"/>
                  <a:pt x="65" y="94"/>
                </a:cubicBezTo>
                <a:cubicBezTo>
                  <a:pt x="53" y="99"/>
                  <a:pt x="41" y="104"/>
                  <a:pt x="30" y="111"/>
                </a:cubicBezTo>
                <a:cubicBezTo>
                  <a:pt x="25" y="114"/>
                  <a:pt x="19" y="118"/>
                  <a:pt x="15" y="122"/>
                </a:cubicBezTo>
                <a:cubicBezTo>
                  <a:pt x="10" y="127"/>
                  <a:pt x="5" y="131"/>
                  <a:pt x="2" y="138"/>
                </a:cubicBezTo>
                <a:cubicBezTo>
                  <a:pt x="1" y="142"/>
                  <a:pt x="0" y="146"/>
                  <a:pt x="0" y="151"/>
                </a:cubicBezTo>
                <a:cubicBezTo>
                  <a:pt x="0" y="155"/>
                  <a:pt x="1" y="159"/>
                  <a:pt x="3" y="163"/>
                </a:cubicBezTo>
                <a:cubicBezTo>
                  <a:pt x="4" y="165"/>
                  <a:pt x="6" y="166"/>
                  <a:pt x="7" y="168"/>
                </a:cubicBezTo>
                <a:cubicBezTo>
                  <a:pt x="8" y="169"/>
                  <a:pt x="10" y="171"/>
                  <a:pt x="11" y="172"/>
                </a:cubicBezTo>
                <a:cubicBezTo>
                  <a:pt x="14" y="175"/>
                  <a:pt x="17" y="177"/>
                  <a:pt x="21" y="179"/>
                </a:cubicBezTo>
                <a:cubicBezTo>
                  <a:pt x="33" y="186"/>
                  <a:pt x="45" y="190"/>
                  <a:pt x="58" y="193"/>
                </a:cubicBezTo>
                <a:cubicBezTo>
                  <a:pt x="70" y="197"/>
                  <a:pt x="83" y="200"/>
                  <a:pt x="95" y="202"/>
                </a:cubicBezTo>
                <a:cubicBezTo>
                  <a:pt x="101" y="203"/>
                  <a:pt x="108" y="204"/>
                  <a:pt x="113" y="205"/>
                </a:cubicBezTo>
                <a:cubicBezTo>
                  <a:pt x="128" y="208"/>
                  <a:pt x="142" y="210"/>
                  <a:pt x="158" y="212"/>
                </a:cubicBezTo>
                <a:cubicBezTo>
                  <a:pt x="197" y="217"/>
                  <a:pt x="236" y="220"/>
                  <a:pt x="272" y="223"/>
                </a:cubicBezTo>
                <a:cubicBezTo>
                  <a:pt x="318" y="226"/>
                  <a:pt x="386" y="230"/>
                  <a:pt x="440" y="232"/>
                </a:cubicBezTo>
                <a:cubicBezTo>
                  <a:pt x="452" y="232"/>
                  <a:pt x="464" y="233"/>
                  <a:pt x="476" y="233"/>
                </a:cubicBezTo>
                <a:cubicBezTo>
                  <a:pt x="515" y="234"/>
                  <a:pt x="564" y="235"/>
                  <a:pt x="605" y="236"/>
                </a:cubicBezTo>
                <a:cubicBezTo>
                  <a:pt x="690" y="237"/>
                  <a:pt x="777" y="235"/>
                  <a:pt x="863" y="231"/>
                </a:cubicBezTo>
                <a:cubicBezTo>
                  <a:pt x="906" y="229"/>
                  <a:pt x="950" y="227"/>
                  <a:pt x="992" y="223"/>
                </a:cubicBezTo>
                <a:cubicBezTo>
                  <a:pt x="1035" y="220"/>
                  <a:pt x="1078" y="216"/>
                  <a:pt x="1120" y="209"/>
                </a:cubicBezTo>
                <a:cubicBezTo>
                  <a:pt x="1133" y="207"/>
                  <a:pt x="1153" y="203"/>
                  <a:pt x="1164" y="200"/>
                </a:cubicBezTo>
                <a:cubicBezTo>
                  <a:pt x="1167" y="200"/>
                  <a:pt x="1174" y="198"/>
                  <a:pt x="1180" y="197"/>
                </a:cubicBezTo>
                <a:cubicBezTo>
                  <a:pt x="1201" y="191"/>
                  <a:pt x="1226" y="184"/>
                  <a:pt x="1252" y="176"/>
                </a:cubicBezTo>
                <a:cubicBezTo>
                  <a:pt x="1259" y="174"/>
                  <a:pt x="1274" y="167"/>
                  <a:pt x="1282" y="162"/>
                </a:cubicBezTo>
                <a:cubicBezTo>
                  <a:pt x="1286" y="160"/>
                  <a:pt x="1277" y="165"/>
                  <a:pt x="1284" y="161"/>
                </a:cubicBezTo>
                <a:cubicBezTo>
                  <a:pt x="1288" y="159"/>
                  <a:pt x="1294" y="155"/>
                  <a:pt x="1301" y="150"/>
                </a:cubicBezTo>
                <a:cubicBezTo>
                  <a:pt x="1304" y="148"/>
                  <a:pt x="1308" y="145"/>
                  <a:pt x="1311" y="141"/>
                </a:cubicBezTo>
                <a:cubicBezTo>
                  <a:pt x="1313" y="139"/>
                  <a:pt x="1315" y="137"/>
                  <a:pt x="1317" y="134"/>
                </a:cubicBezTo>
                <a:cubicBezTo>
                  <a:pt x="1317" y="133"/>
                  <a:pt x="1318" y="132"/>
                  <a:pt x="1319" y="130"/>
                </a:cubicBezTo>
                <a:cubicBezTo>
                  <a:pt x="1319" y="129"/>
                  <a:pt x="1319" y="128"/>
                  <a:pt x="1319" y="127"/>
                </a:cubicBezTo>
                <a:cubicBezTo>
                  <a:pt x="1319" y="126"/>
                  <a:pt x="1319" y="126"/>
                  <a:pt x="1319" y="126"/>
                </a:cubicBezTo>
                <a:close/>
                <a:moveTo>
                  <a:pt x="1104" y="52"/>
                </a:moveTo>
                <a:cubicBezTo>
                  <a:pt x="1102" y="51"/>
                  <a:pt x="1092" y="50"/>
                  <a:pt x="1091" y="50"/>
                </a:cubicBezTo>
                <a:cubicBezTo>
                  <a:pt x="1095" y="50"/>
                  <a:pt x="1103" y="52"/>
                  <a:pt x="1104" y="52"/>
                </a:cubicBezTo>
                <a:close/>
                <a:moveTo>
                  <a:pt x="985" y="52"/>
                </a:moveTo>
                <a:cubicBezTo>
                  <a:pt x="985" y="52"/>
                  <a:pt x="985" y="52"/>
                  <a:pt x="985" y="52"/>
                </a:cubicBezTo>
                <a:cubicBezTo>
                  <a:pt x="985" y="52"/>
                  <a:pt x="985" y="52"/>
                  <a:pt x="985" y="52"/>
                </a:cubicBezTo>
                <a:close/>
                <a:moveTo>
                  <a:pt x="689" y="44"/>
                </a:moveTo>
                <a:cubicBezTo>
                  <a:pt x="689" y="43"/>
                  <a:pt x="688" y="44"/>
                  <a:pt x="688" y="43"/>
                </a:cubicBezTo>
                <a:cubicBezTo>
                  <a:pt x="689" y="43"/>
                  <a:pt x="689" y="43"/>
                  <a:pt x="689" y="43"/>
                </a:cubicBezTo>
                <a:cubicBezTo>
                  <a:pt x="689" y="43"/>
                  <a:pt x="687" y="43"/>
                  <a:pt x="687" y="43"/>
                </a:cubicBezTo>
                <a:cubicBezTo>
                  <a:pt x="687" y="43"/>
                  <a:pt x="688" y="44"/>
                  <a:pt x="688" y="43"/>
                </a:cubicBezTo>
                <a:cubicBezTo>
                  <a:pt x="688" y="43"/>
                  <a:pt x="688" y="43"/>
                  <a:pt x="688" y="44"/>
                </a:cubicBezTo>
                <a:cubicBezTo>
                  <a:pt x="688" y="44"/>
                  <a:pt x="688" y="43"/>
                  <a:pt x="688" y="43"/>
                </a:cubicBezTo>
                <a:cubicBezTo>
                  <a:pt x="688" y="44"/>
                  <a:pt x="688" y="44"/>
                  <a:pt x="688" y="44"/>
                </a:cubicBezTo>
                <a:cubicBezTo>
                  <a:pt x="689" y="44"/>
                  <a:pt x="689" y="44"/>
                  <a:pt x="689" y="44"/>
                </a:cubicBezTo>
                <a:close/>
                <a:moveTo>
                  <a:pt x="1041" y="46"/>
                </a:moveTo>
                <a:cubicBezTo>
                  <a:pt x="1044" y="47"/>
                  <a:pt x="1051" y="47"/>
                  <a:pt x="1053" y="48"/>
                </a:cubicBezTo>
                <a:cubicBezTo>
                  <a:pt x="1049" y="47"/>
                  <a:pt x="1042" y="46"/>
                  <a:pt x="1041" y="46"/>
                </a:cubicBezTo>
                <a:close/>
                <a:moveTo>
                  <a:pt x="689" y="39"/>
                </a:moveTo>
                <a:cubicBezTo>
                  <a:pt x="689" y="39"/>
                  <a:pt x="688" y="39"/>
                  <a:pt x="688" y="39"/>
                </a:cubicBezTo>
                <a:cubicBezTo>
                  <a:pt x="689" y="39"/>
                  <a:pt x="689" y="39"/>
                  <a:pt x="689" y="39"/>
                </a:cubicBezTo>
                <a:close/>
                <a:moveTo>
                  <a:pt x="688" y="45"/>
                </a:moveTo>
                <a:cubicBezTo>
                  <a:pt x="688" y="45"/>
                  <a:pt x="688" y="45"/>
                  <a:pt x="687" y="45"/>
                </a:cubicBezTo>
                <a:cubicBezTo>
                  <a:pt x="688" y="45"/>
                  <a:pt x="688" y="45"/>
                  <a:pt x="688" y="45"/>
                </a:cubicBezTo>
                <a:close/>
                <a:moveTo>
                  <a:pt x="863" y="47"/>
                </a:moveTo>
                <a:cubicBezTo>
                  <a:pt x="849" y="46"/>
                  <a:pt x="839" y="46"/>
                  <a:pt x="830" y="46"/>
                </a:cubicBezTo>
                <a:cubicBezTo>
                  <a:pt x="838" y="46"/>
                  <a:pt x="848" y="46"/>
                  <a:pt x="853" y="47"/>
                </a:cubicBezTo>
                <a:cubicBezTo>
                  <a:pt x="855" y="46"/>
                  <a:pt x="860" y="47"/>
                  <a:pt x="863" y="47"/>
                </a:cubicBezTo>
                <a:close/>
                <a:moveTo>
                  <a:pt x="1279" y="100"/>
                </a:moveTo>
                <a:cubicBezTo>
                  <a:pt x="1276" y="98"/>
                  <a:pt x="1271" y="96"/>
                  <a:pt x="1270" y="96"/>
                </a:cubicBezTo>
                <a:cubicBezTo>
                  <a:pt x="1274" y="98"/>
                  <a:pt x="1277" y="99"/>
                  <a:pt x="1279" y="100"/>
                </a:cubicBezTo>
                <a:close/>
                <a:moveTo>
                  <a:pt x="688" y="39"/>
                </a:moveTo>
                <a:cubicBezTo>
                  <a:pt x="688" y="39"/>
                  <a:pt x="688" y="39"/>
                  <a:pt x="688" y="39"/>
                </a:cubicBezTo>
                <a:cubicBezTo>
                  <a:pt x="688" y="39"/>
                  <a:pt x="688" y="39"/>
                  <a:pt x="688" y="39"/>
                </a:cubicBezTo>
                <a:cubicBezTo>
                  <a:pt x="688" y="39"/>
                  <a:pt x="688" y="39"/>
                  <a:pt x="688" y="39"/>
                </a:cubicBezTo>
                <a:close/>
                <a:moveTo>
                  <a:pt x="688" y="46"/>
                </a:moveTo>
                <a:cubicBezTo>
                  <a:pt x="688" y="46"/>
                  <a:pt x="689" y="46"/>
                  <a:pt x="689" y="46"/>
                </a:cubicBezTo>
                <a:cubicBezTo>
                  <a:pt x="688" y="46"/>
                  <a:pt x="688" y="46"/>
                  <a:pt x="688" y="46"/>
                </a:cubicBezTo>
                <a:close/>
                <a:moveTo>
                  <a:pt x="769" y="37"/>
                </a:moveTo>
                <a:cubicBezTo>
                  <a:pt x="762" y="37"/>
                  <a:pt x="762" y="37"/>
                  <a:pt x="762" y="37"/>
                </a:cubicBezTo>
                <a:cubicBezTo>
                  <a:pt x="761" y="37"/>
                  <a:pt x="762" y="37"/>
                  <a:pt x="763" y="37"/>
                </a:cubicBezTo>
                <a:cubicBezTo>
                  <a:pt x="768" y="37"/>
                  <a:pt x="769" y="37"/>
                  <a:pt x="769" y="37"/>
                </a:cubicBezTo>
                <a:close/>
                <a:moveTo>
                  <a:pt x="923" y="41"/>
                </a:moveTo>
                <a:cubicBezTo>
                  <a:pt x="912" y="40"/>
                  <a:pt x="912" y="40"/>
                  <a:pt x="912" y="40"/>
                </a:cubicBezTo>
                <a:cubicBezTo>
                  <a:pt x="907" y="40"/>
                  <a:pt x="879" y="39"/>
                  <a:pt x="882" y="39"/>
                </a:cubicBezTo>
                <a:cubicBezTo>
                  <a:pt x="899" y="40"/>
                  <a:pt x="924" y="41"/>
                  <a:pt x="938" y="42"/>
                </a:cubicBezTo>
                <a:cubicBezTo>
                  <a:pt x="933" y="41"/>
                  <a:pt x="928" y="41"/>
                  <a:pt x="923" y="41"/>
                </a:cubicBezTo>
                <a:close/>
                <a:moveTo>
                  <a:pt x="926" y="46"/>
                </a:moveTo>
                <a:cubicBezTo>
                  <a:pt x="967" y="48"/>
                  <a:pt x="967" y="48"/>
                  <a:pt x="967" y="48"/>
                </a:cubicBezTo>
                <a:cubicBezTo>
                  <a:pt x="954" y="47"/>
                  <a:pt x="939" y="46"/>
                  <a:pt x="926" y="46"/>
                </a:cubicBezTo>
                <a:close/>
                <a:moveTo>
                  <a:pt x="683" y="48"/>
                </a:moveTo>
                <a:cubicBezTo>
                  <a:pt x="683" y="48"/>
                  <a:pt x="683" y="48"/>
                  <a:pt x="683" y="48"/>
                </a:cubicBezTo>
                <a:close/>
                <a:moveTo>
                  <a:pt x="985" y="52"/>
                </a:moveTo>
                <a:cubicBezTo>
                  <a:pt x="985" y="52"/>
                  <a:pt x="986" y="52"/>
                  <a:pt x="986" y="52"/>
                </a:cubicBezTo>
                <a:cubicBezTo>
                  <a:pt x="986" y="52"/>
                  <a:pt x="985" y="52"/>
                  <a:pt x="985" y="52"/>
                </a:cubicBezTo>
                <a:close/>
                <a:moveTo>
                  <a:pt x="687" y="40"/>
                </a:moveTo>
                <a:cubicBezTo>
                  <a:pt x="687" y="40"/>
                  <a:pt x="687" y="40"/>
                  <a:pt x="687" y="40"/>
                </a:cubicBezTo>
                <a:cubicBezTo>
                  <a:pt x="687" y="40"/>
                  <a:pt x="687" y="40"/>
                  <a:pt x="687" y="40"/>
                </a:cubicBezTo>
                <a:close/>
                <a:moveTo>
                  <a:pt x="687" y="41"/>
                </a:moveTo>
                <a:cubicBezTo>
                  <a:pt x="687" y="41"/>
                  <a:pt x="687" y="41"/>
                  <a:pt x="687" y="41"/>
                </a:cubicBezTo>
                <a:cubicBezTo>
                  <a:pt x="687" y="41"/>
                  <a:pt x="687" y="41"/>
                  <a:pt x="687" y="41"/>
                </a:cubicBezTo>
                <a:close/>
                <a:moveTo>
                  <a:pt x="689" y="38"/>
                </a:move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90" y="38"/>
                  <a:pt x="690" y="38"/>
                </a:cubicBezTo>
                <a:cubicBezTo>
                  <a:pt x="689" y="38"/>
                  <a:pt x="689" y="38"/>
                  <a:pt x="689" y="38"/>
                </a:cubicBezTo>
                <a:close/>
                <a:moveTo>
                  <a:pt x="689" y="45"/>
                </a:moveTo>
                <a:cubicBezTo>
                  <a:pt x="689" y="44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lose/>
                <a:moveTo>
                  <a:pt x="688" y="39"/>
                </a:moveTo>
                <a:cubicBezTo>
                  <a:pt x="688" y="39"/>
                  <a:pt x="687" y="38"/>
                  <a:pt x="687" y="39"/>
                </a:cubicBezTo>
                <a:cubicBezTo>
                  <a:pt x="687" y="39"/>
                  <a:pt x="688" y="39"/>
                  <a:pt x="688" y="39"/>
                </a:cubicBezTo>
                <a:close/>
                <a:moveTo>
                  <a:pt x="688" y="41"/>
                </a:moveTo>
                <a:cubicBezTo>
                  <a:pt x="688" y="41"/>
                  <a:pt x="688" y="41"/>
                  <a:pt x="688" y="41"/>
                </a:cubicBezTo>
                <a:cubicBezTo>
                  <a:pt x="688" y="41"/>
                  <a:pt x="688" y="41"/>
                  <a:pt x="688" y="41"/>
                </a:cubicBezTo>
                <a:cubicBezTo>
                  <a:pt x="687" y="41"/>
                  <a:pt x="688" y="41"/>
                  <a:pt x="688" y="41"/>
                </a:cubicBezTo>
                <a:close/>
                <a:moveTo>
                  <a:pt x="699" y="40"/>
                </a:moveTo>
                <a:cubicBezTo>
                  <a:pt x="689" y="41"/>
                  <a:pt x="689" y="41"/>
                  <a:pt x="689" y="41"/>
                </a:cubicBezTo>
                <a:cubicBezTo>
                  <a:pt x="689" y="41"/>
                  <a:pt x="688" y="41"/>
                  <a:pt x="688" y="41"/>
                </a:cubicBezTo>
                <a:cubicBezTo>
                  <a:pt x="688" y="41"/>
                  <a:pt x="689" y="41"/>
                  <a:pt x="689" y="41"/>
                </a:cubicBezTo>
                <a:cubicBezTo>
                  <a:pt x="689" y="41"/>
                  <a:pt x="689" y="41"/>
                  <a:pt x="689" y="41"/>
                </a:cubicBezTo>
                <a:lnTo>
                  <a:pt x="699" y="40"/>
                </a:lnTo>
                <a:close/>
                <a:moveTo>
                  <a:pt x="688" y="41"/>
                </a:moveTo>
                <a:cubicBezTo>
                  <a:pt x="688" y="41"/>
                  <a:pt x="688" y="41"/>
                  <a:pt x="688" y="41"/>
                </a:cubicBezTo>
                <a:cubicBezTo>
                  <a:pt x="688" y="41"/>
                  <a:pt x="688" y="41"/>
                  <a:pt x="688" y="41"/>
                </a:cubicBezTo>
                <a:cubicBezTo>
                  <a:pt x="688" y="41"/>
                  <a:pt x="688" y="41"/>
                  <a:pt x="688" y="41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  <a:effectLst>
            <a:outerShdw blurRad="50800" dist="254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D35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75" name="Rectangle 1074">
            <a:extLst>
              <a:ext uri="{FF2B5EF4-FFF2-40B4-BE49-F238E27FC236}">
                <a16:creationId xmlns:a16="http://schemas.microsoft.com/office/drawing/2014/main" id="{A4EACE4E-14D5-2B96-9C51-A8773F4A6BB9}"/>
              </a:ext>
            </a:extLst>
          </p:cNvPr>
          <p:cNvSpPr/>
          <p:nvPr/>
        </p:nvSpPr>
        <p:spPr>
          <a:xfrm>
            <a:off x="2056893" y="5050800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60,000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m</a:t>
            </a:r>
            <a:r>
              <a:rPr kumimoji="0" lang="en-US" sz="1200" b="1" i="0" u="none" strike="noStrike" kern="1200" cap="none" spc="0" normalizeH="0" baseline="3000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76" name="Rectangle 1075">
            <a:extLst>
              <a:ext uri="{FF2B5EF4-FFF2-40B4-BE49-F238E27FC236}">
                <a16:creationId xmlns:a16="http://schemas.microsoft.com/office/drawing/2014/main" id="{36042252-AB16-1CCB-3AB0-544A413AC5CC}"/>
              </a:ext>
            </a:extLst>
          </p:cNvPr>
          <p:cNvSpPr/>
          <p:nvPr/>
        </p:nvSpPr>
        <p:spPr>
          <a:xfrm>
            <a:off x="3766725" y="5050800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W</a:t>
            </a:r>
          </a:p>
        </p:txBody>
      </p:sp>
      <p:sp>
        <p:nvSpPr>
          <p:cNvPr id="1077" name="Rectangle 1076">
            <a:extLst>
              <a:ext uri="{FF2B5EF4-FFF2-40B4-BE49-F238E27FC236}">
                <a16:creationId xmlns:a16="http://schemas.microsoft.com/office/drawing/2014/main" id="{6D6DDB7B-ECA5-00ED-A7E0-AF3CCDFEF0AC}"/>
              </a:ext>
            </a:extLst>
          </p:cNvPr>
          <p:cNvSpPr/>
          <p:nvPr/>
        </p:nvSpPr>
        <p:spPr>
          <a:xfrm>
            <a:off x="347061" y="5050800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5%</a:t>
            </a:r>
          </a:p>
        </p:txBody>
      </p:sp>
      <p:sp>
        <p:nvSpPr>
          <p:cNvPr id="1078" name="Rectangle 1077">
            <a:extLst>
              <a:ext uri="{FF2B5EF4-FFF2-40B4-BE49-F238E27FC236}">
                <a16:creationId xmlns:a16="http://schemas.microsoft.com/office/drawing/2014/main" id="{A1941922-2646-1792-0EC9-80460716EA9E}"/>
              </a:ext>
            </a:extLst>
          </p:cNvPr>
          <p:cNvSpPr/>
          <p:nvPr/>
        </p:nvSpPr>
        <p:spPr>
          <a:xfrm>
            <a:off x="5476557" y="5050800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5</a:t>
            </a:r>
          </a:p>
        </p:txBody>
      </p:sp>
      <p:sp>
        <p:nvSpPr>
          <p:cNvPr id="1079" name="Rectangle 1078">
            <a:extLst>
              <a:ext uri="{FF2B5EF4-FFF2-40B4-BE49-F238E27FC236}">
                <a16:creationId xmlns:a16="http://schemas.microsoft.com/office/drawing/2014/main" id="{9D79E112-91C6-B1D5-DC17-E7E7DA7A7535}"/>
              </a:ext>
            </a:extLst>
          </p:cNvPr>
          <p:cNvSpPr/>
          <p:nvPr/>
        </p:nvSpPr>
        <p:spPr>
          <a:xfrm>
            <a:off x="347061" y="5538876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the locations require floating wind</a:t>
            </a:r>
          </a:p>
        </p:txBody>
      </p:sp>
      <p:sp>
        <p:nvSpPr>
          <p:cNvPr id="1080" name="Rectangle 1079">
            <a:extLst>
              <a:ext uri="{FF2B5EF4-FFF2-40B4-BE49-F238E27FC236}">
                <a16:creationId xmlns:a16="http://schemas.microsoft.com/office/drawing/2014/main" id="{5231CDA2-8A53-3553-7ABC-CE56C71FDE2A}"/>
              </a:ext>
            </a:extLst>
          </p:cNvPr>
          <p:cNvSpPr/>
          <p:nvPr/>
        </p:nvSpPr>
        <p:spPr>
          <a:xfrm>
            <a:off x="2051161" y="5538876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itable for developing offshore wind</a:t>
            </a:r>
          </a:p>
        </p:txBody>
      </p:sp>
      <p:sp>
        <p:nvSpPr>
          <p:cNvPr id="1081" name="Rectangle 1080">
            <a:extLst>
              <a:ext uri="{FF2B5EF4-FFF2-40B4-BE49-F238E27FC236}">
                <a16:creationId xmlns:a16="http://schemas.microsoft.com/office/drawing/2014/main" id="{164A6169-72DB-BB1B-3C1D-FB043B98502B}"/>
              </a:ext>
            </a:extLst>
          </p:cNvPr>
          <p:cNvSpPr/>
          <p:nvPr/>
        </p:nvSpPr>
        <p:spPr>
          <a:xfrm>
            <a:off x="3766725" y="5538876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development potential by 2040</a:t>
            </a:r>
          </a:p>
        </p:txBody>
      </p:sp>
      <p:sp>
        <p:nvSpPr>
          <p:cNvPr id="1082" name="Rectangle 1081">
            <a:extLst>
              <a:ext uri="{FF2B5EF4-FFF2-40B4-BE49-F238E27FC236}">
                <a16:creationId xmlns:a16="http://schemas.microsoft.com/office/drawing/2014/main" id="{595F751A-ACE6-C214-CC5F-28D4BABF7B05}"/>
              </a:ext>
            </a:extLst>
          </p:cNvPr>
          <p:cNvSpPr/>
          <p:nvPr/>
        </p:nvSpPr>
        <p:spPr>
          <a:xfrm>
            <a:off x="5476557" y="5538876"/>
            <a:ext cx="1576166" cy="487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offshore wind area(s) allocation</a:t>
            </a:r>
            <a:r>
              <a:rPr kumimoji="0" lang="en-US" sz="1200" b="0" i="1" u="none" strike="noStrike" kern="1200" cap="none" spc="0" normalizeH="0" baseline="3000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1083" name="Straight Connector 1082">
            <a:extLst>
              <a:ext uri="{FF2B5EF4-FFF2-40B4-BE49-F238E27FC236}">
                <a16:creationId xmlns:a16="http://schemas.microsoft.com/office/drawing/2014/main" id="{32F3A1F9-2C21-B3B9-D2B6-C0B4E8C71E10}"/>
              </a:ext>
            </a:extLst>
          </p:cNvPr>
          <p:cNvCxnSpPr>
            <a:cxnSpLocks/>
          </p:cNvCxnSpPr>
          <p:nvPr/>
        </p:nvCxnSpPr>
        <p:spPr>
          <a:xfrm rot="5400000">
            <a:off x="3199625" y="5548020"/>
            <a:ext cx="1000534" cy="0"/>
          </a:xfrm>
          <a:prstGeom prst="line">
            <a:avLst/>
          </a:prstGeom>
          <a:ln w="63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4" name="Straight Connector 1083">
            <a:extLst>
              <a:ext uri="{FF2B5EF4-FFF2-40B4-BE49-F238E27FC236}">
                <a16:creationId xmlns:a16="http://schemas.microsoft.com/office/drawing/2014/main" id="{F81F254A-7564-AFA5-3C92-6C0A111AEA38}"/>
              </a:ext>
            </a:extLst>
          </p:cNvPr>
          <p:cNvCxnSpPr>
            <a:cxnSpLocks/>
          </p:cNvCxnSpPr>
          <p:nvPr/>
        </p:nvCxnSpPr>
        <p:spPr>
          <a:xfrm rot="5400000">
            <a:off x="1489793" y="5548020"/>
            <a:ext cx="1000534" cy="0"/>
          </a:xfrm>
          <a:prstGeom prst="line">
            <a:avLst/>
          </a:prstGeom>
          <a:ln w="63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5" name="Straight Connector 1084">
            <a:extLst>
              <a:ext uri="{FF2B5EF4-FFF2-40B4-BE49-F238E27FC236}">
                <a16:creationId xmlns:a16="http://schemas.microsoft.com/office/drawing/2014/main" id="{C6C5986A-E122-F7D8-1877-08327F385D0A}"/>
              </a:ext>
            </a:extLst>
          </p:cNvPr>
          <p:cNvCxnSpPr>
            <a:cxnSpLocks/>
          </p:cNvCxnSpPr>
          <p:nvPr/>
        </p:nvCxnSpPr>
        <p:spPr>
          <a:xfrm rot="5400000">
            <a:off x="4909457" y="5548020"/>
            <a:ext cx="1000534" cy="0"/>
          </a:xfrm>
          <a:prstGeom prst="line">
            <a:avLst/>
          </a:prstGeom>
          <a:ln w="63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8" name="Rectangle 1127">
            <a:extLst>
              <a:ext uri="{FF2B5EF4-FFF2-40B4-BE49-F238E27FC236}">
                <a16:creationId xmlns:a16="http://schemas.microsoft.com/office/drawing/2014/main" id="{EF57CE6F-03D7-03B2-E54A-4AE12F06B9A5}"/>
              </a:ext>
            </a:extLst>
          </p:cNvPr>
          <p:cNvSpPr/>
          <p:nvPr/>
        </p:nvSpPr>
        <p:spPr>
          <a:xfrm>
            <a:off x="10507161" y="5160638"/>
            <a:ext cx="183755" cy="144521"/>
          </a:xfrm>
          <a:prstGeom prst="rect">
            <a:avLst/>
          </a:prstGeom>
          <a:solidFill>
            <a:srgbClr val="F2F2F2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 err="1">
              <a:ln>
                <a:noFill/>
              </a:ln>
              <a:solidFill>
                <a:srgbClr val="1E34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9" name="Rectangle 1128">
            <a:extLst>
              <a:ext uri="{FF2B5EF4-FFF2-40B4-BE49-F238E27FC236}">
                <a16:creationId xmlns:a16="http://schemas.microsoft.com/office/drawing/2014/main" id="{A383C204-E09F-A4EC-D548-03AB1385B109}"/>
              </a:ext>
            </a:extLst>
          </p:cNvPr>
          <p:cNvSpPr/>
          <p:nvPr/>
        </p:nvSpPr>
        <p:spPr>
          <a:xfrm>
            <a:off x="10690624" y="5165395"/>
            <a:ext cx="1304924" cy="135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ed offshore wind area</a:t>
            </a:r>
            <a:endParaRPr kumimoji="0" lang="en-US" sz="800" b="0" i="0" u="none" strike="noStrike" kern="1200" cap="none" spc="0" normalizeH="0" baseline="30000" noProof="0">
              <a:ln>
                <a:noFill/>
              </a:ln>
              <a:solidFill>
                <a:srgbClr val="1E34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1" name="Rectangle 1130">
            <a:extLst>
              <a:ext uri="{FF2B5EF4-FFF2-40B4-BE49-F238E27FC236}">
                <a16:creationId xmlns:a16="http://schemas.microsoft.com/office/drawing/2014/main" id="{47844B72-10CC-3CB7-6CA2-CA3227C072AC}"/>
              </a:ext>
            </a:extLst>
          </p:cNvPr>
          <p:cNvSpPr/>
          <p:nvPr/>
        </p:nvSpPr>
        <p:spPr>
          <a:xfrm>
            <a:off x="10690624" y="5420844"/>
            <a:ext cx="1304924" cy="135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oating wind</a:t>
            </a:r>
            <a:endParaRPr kumimoji="0" lang="en-US" sz="800" b="0" i="0" u="none" strike="noStrike" kern="1200" cap="none" spc="0" normalizeH="0" baseline="30000" noProof="0">
              <a:ln>
                <a:noFill/>
              </a:ln>
              <a:solidFill>
                <a:srgbClr val="1E34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3" name="Rectangle 1132">
            <a:extLst>
              <a:ext uri="{FF2B5EF4-FFF2-40B4-BE49-F238E27FC236}">
                <a16:creationId xmlns:a16="http://schemas.microsoft.com/office/drawing/2014/main" id="{6096CDAA-B0D1-EE42-F0CF-6DD88FAEC2D0}"/>
              </a:ext>
            </a:extLst>
          </p:cNvPr>
          <p:cNvSpPr/>
          <p:nvPr/>
        </p:nvSpPr>
        <p:spPr>
          <a:xfrm>
            <a:off x="10690624" y="5676293"/>
            <a:ext cx="1304924" cy="135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oating / bottom fixed</a:t>
            </a:r>
            <a:endParaRPr kumimoji="0" lang="en-US" sz="800" b="0" i="0" u="none" strike="noStrike" kern="1200" cap="none" spc="0" normalizeH="0" baseline="30000" noProof="0">
              <a:ln>
                <a:noFill/>
              </a:ln>
              <a:solidFill>
                <a:srgbClr val="1E34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4" name="Rectangle 1133">
            <a:extLst>
              <a:ext uri="{FF2B5EF4-FFF2-40B4-BE49-F238E27FC236}">
                <a16:creationId xmlns:a16="http://schemas.microsoft.com/office/drawing/2014/main" id="{0B936771-2B8B-0FE9-139F-5397B656DE3C}"/>
              </a:ext>
            </a:extLst>
          </p:cNvPr>
          <p:cNvSpPr/>
          <p:nvPr/>
        </p:nvSpPr>
        <p:spPr>
          <a:xfrm>
            <a:off x="10690624" y="5931743"/>
            <a:ext cx="1304924" cy="135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E34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ttom fixed</a:t>
            </a:r>
            <a:endParaRPr kumimoji="0" lang="en-US" sz="800" b="0" i="0" u="none" strike="noStrike" kern="1200" cap="none" spc="0" normalizeH="0" baseline="30000" noProof="0">
              <a:ln>
                <a:noFill/>
              </a:ln>
              <a:solidFill>
                <a:srgbClr val="1E34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7" name="Oval 1136">
            <a:extLst>
              <a:ext uri="{FF2B5EF4-FFF2-40B4-BE49-F238E27FC236}">
                <a16:creationId xmlns:a16="http://schemas.microsoft.com/office/drawing/2014/main" id="{3D6FAC36-C53B-62AF-26DF-DED714502FBC}"/>
              </a:ext>
            </a:extLst>
          </p:cNvPr>
          <p:cNvSpPr/>
          <p:nvPr/>
        </p:nvSpPr>
        <p:spPr>
          <a:xfrm>
            <a:off x="10507161" y="5396351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38" name="Oval 1137">
            <a:extLst>
              <a:ext uri="{FF2B5EF4-FFF2-40B4-BE49-F238E27FC236}">
                <a16:creationId xmlns:a16="http://schemas.microsoft.com/office/drawing/2014/main" id="{0152A781-3858-2D96-1315-B74852196C18}"/>
              </a:ext>
            </a:extLst>
          </p:cNvPr>
          <p:cNvSpPr/>
          <p:nvPr/>
        </p:nvSpPr>
        <p:spPr>
          <a:xfrm>
            <a:off x="10507161" y="5659924"/>
            <a:ext cx="180000" cy="180000"/>
          </a:xfrm>
          <a:prstGeom prst="ellipse">
            <a:avLst/>
          </a:prstGeom>
          <a:solidFill>
            <a:schemeClr val="tx1">
              <a:lumMod val="40000"/>
              <a:lumOff val="60000"/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  <a:b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39" name="Oval 1138">
            <a:extLst>
              <a:ext uri="{FF2B5EF4-FFF2-40B4-BE49-F238E27FC236}">
                <a16:creationId xmlns:a16="http://schemas.microsoft.com/office/drawing/2014/main" id="{6AE7A512-2E04-C271-C313-690662B24721}"/>
              </a:ext>
            </a:extLst>
          </p:cNvPr>
          <p:cNvSpPr/>
          <p:nvPr/>
        </p:nvSpPr>
        <p:spPr>
          <a:xfrm>
            <a:off x="10507161" y="5909227"/>
            <a:ext cx="180000" cy="180000"/>
          </a:xfrm>
          <a:prstGeom prst="ellipse">
            <a:avLst/>
          </a:prstGeom>
          <a:solidFill>
            <a:schemeClr val="tx1">
              <a:lumMod val="20000"/>
              <a:lumOff val="80000"/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40" name="Oval 1139">
            <a:extLst>
              <a:ext uri="{FF2B5EF4-FFF2-40B4-BE49-F238E27FC236}">
                <a16:creationId xmlns:a16="http://schemas.microsoft.com/office/drawing/2014/main" id="{9219B960-01F8-D113-64D2-18BD07CCD9C5}"/>
              </a:ext>
            </a:extLst>
          </p:cNvPr>
          <p:cNvSpPr/>
          <p:nvPr/>
        </p:nvSpPr>
        <p:spPr>
          <a:xfrm>
            <a:off x="11909053" y="1294543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1" name="Oval 1140">
            <a:extLst>
              <a:ext uri="{FF2B5EF4-FFF2-40B4-BE49-F238E27FC236}">
                <a16:creationId xmlns:a16="http://schemas.microsoft.com/office/drawing/2014/main" id="{61737347-5574-00B2-3169-9B1DF910BE4B}"/>
              </a:ext>
            </a:extLst>
          </p:cNvPr>
          <p:cNvSpPr/>
          <p:nvPr/>
        </p:nvSpPr>
        <p:spPr>
          <a:xfrm>
            <a:off x="11410712" y="1144241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2" name="Oval 1141">
            <a:extLst>
              <a:ext uri="{FF2B5EF4-FFF2-40B4-BE49-F238E27FC236}">
                <a16:creationId xmlns:a16="http://schemas.microsoft.com/office/drawing/2014/main" id="{8B84494D-B94C-E9A9-7BCE-5311652A31C8}"/>
              </a:ext>
            </a:extLst>
          </p:cNvPr>
          <p:cNvSpPr/>
          <p:nvPr/>
        </p:nvSpPr>
        <p:spPr>
          <a:xfrm>
            <a:off x="10680038" y="1267992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3" name="Oval 1142">
            <a:extLst>
              <a:ext uri="{FF2B5EF4-FFF2-40B4-BE49-F238E27FC236}">
                <a16:creationId xmlns:a16="http://schemas.microsoft.com/office/drawing/2014/main" id="{4E67E8ED-AB33-21AE-CE9B-B2BBDF8288AA}"/>
              </a:ext>
            </a:extLst>
          </p:cNvPr>
          <p:cNvSpPr/>
          <p:nvPr/>
        </p:nvSpPr>
        <p:spPr>
          <a:xfrm>
            <a:off x="10406829" y="1457682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4" name="Oval 1143">
            <a:extLst>
              <a:ext uri="{FF2B5EF4-FFF2-40B4-BE49-F238E27FC236}">
                <a16:creationId xmlns:a16="http://schemas.microsoft.com/office/drawing/2014/main" id="{1FC95203-DC9F-1A70-176B-39C8B9EE6EEA}"/>
              </a:ext>
            </a:extLst>
          </p:cNvPr>
          <p:cNvSpPr/>
          <p:nvPr/>
        </p:nvSpPr>
        <p:spPr>
          <a:xfrm>
            <a:off x="9394437" y="3163518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5" name="Oval 1144">
            <a:extLst>
              <a:ext uri="{FF2B5EF4-FFF2-40B4-BE49-F238E27FC236}">
                <a16:creationId xmlns:a16="http://schemas.microsoft.com/office/drawing/2014/main" id="{98EE4CD4-3E28-12BB-1878-514E9608A014}"/>
              </a:ext>
            </a:extLst>
          </p:cNvPr>
          <p:cNvSpPr/>
          <p:nvPr/>
        </p:nvSpPr>
        <p:spPr>
          <a:xfrm>
            <a:off x="9082973" y="3521309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6" name="Oval 1145">
            <a:extLst>
              <a:ext uri="{FF2B5EF4-FFF2-40B4-BE49-F238E27FC236}">
                <a16:creationId xmlns:a16="http://schemas.microsoft.com/office/drawing/2014/main" id="{4B686068-D2DE-6ED5-138C-4BAEC15A2D7B}"/>
              </a:ext>
            </a:extLst>
          </p:cNvPr>
          <p:cNvSpPr/>
          <p:nvPr/>
        </p:nvSpPr>
        <p:spPr>
          <a:xfrm>
            <a:off x="8839124" y="3925717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7" name="Oval 1146">
            <a:extLst>
              <a:ext uri="{FF2B5EF4-FFF2-40B4-BE49-F238E27FC236}">
                <a16:creationId xmlns:a16="http://schemas.microsoft.com/office/drawing/2014/main" id="{372E5723-74B7-CA59-0664-CCB076FD54BB}"/>
              </a:ext>
            </a:extLst>
          </p:cNvPr>
          <p:cNvSpPr/>
          <p:nvPr/>
        </p:nvSpPr>
        <p:spPr>
          <a:xfrm>
            <a:off x="8382655" y="4414561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8" name="Oval 1147">
            <a:extLst>
              <a:ext uri="{FF2B5EF4-FFF2-40B4-BE49-F238E27FC236}">
                <a16:creationId xmlns:a16="http://schemas.microsoft.com/office/drawing/2014/main" id="{898CA47B-59C5-08CF-5C76-676E6213F632}"/>
              </a:ext>
            </a:extLst>
          </p:cNvPr>
          <p:cNvSpPr/>
          <p:nvPr/>
        </p:nvSpPr>
        <p:spPr>
          <a:xfrm>
            <a:off x="8308273" y="4659742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49" name="Oval 1148">
            <a:extLst>
              <a:ext uri="{FF2B5EF4-FFF2-40B4-BE49-F238E27FC236}">
                <a16:creationId xmlns:a16="http://schemas.microsoft.com/office/drawing/2014/main" id="{CCCB3308-BCFD-E5F9-B682-F290386602A6}"/>
              </a:ext>
            </a:extLst>
          </p:cNvPr>
          <p:cNvSpPr/>
          <p:nvPr/>
        </p:nvSpPr>
        <p:spPr>
          <a:xfrm>
            <a:off x="8208161" y="5292824"/>
            <a:ext cx="180000" cy="180000"/>
          </a:xfrm>
          <a:prstGeom prst="ellipse">
            <a:avLst/>
          </a:prstGeom>
          <a:solidFill>
            <a:schemeClr val="tx1">
              <a:alpha val="85000"/>
            </a:scheme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</a:p>
        </p:txBody>
      </p:sp>
      <p:sp>
        <p:nvSpPr>
          <p:cNvPr id="1150" name="Oval 1149">
            <a:extLst>
              <a:ext uri="{FF2B5EF4-FFF2-40B4-BE49-F238E27FC236}">
                <a16:creationId xmlns:a16="http://schemas.microsoft.com/office/drawing/2014/main" id="{858E7333-6CAC-D1BF-1464-5EA819C49EDC}"/>
              </a:ext>
            </a:extLst>
          </p:cNvPr>
          <p:cNvSpPr/>
          <p:nvPr/>
        </p:nvSpPr>
        <p:spPr>
          <a:xfrm>
            <a:off x="8135763" y="5511521"/>
            <a:ext cx="180000" cy="180000"/>
          </a:xfrm>
          <a:prstGeom prst="ellipse">
            <a:avLst/>
          </a:prstGeom>
          <a:solidFill>
            <a:srgbClr val="89A5DD">
              <a:alpha val="85000"/>
            </a:srgb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  <a:b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51" name="Oval 1150">
            <a:extLst>
              <a:ext uri="{FF2B5EF4-FFF2-40B4-BE49-F238E27FC236}">
                <a16:creationId xmlns:a16="http://schemas.microsoft.com/office/drawing/2014/main" id="{016BDB28-C020-9CF3-763F-CAC629191A50}"/>
              </a:ext>
            </a:extLst>
          </p:cNvPr>
          <p:cNvSpPr/>
          <p:nvPr/>
        </p:nvSpPr>
        <p:spPr>
          <a:xfrm>
            <a:off x="8001509" y="5784224"/>
            <a:ext cx="180000" cy="180000"/>
          </a:xfrm>
          <a:prstGeom prst="ellipse">
            <a:avLst/>
          </a:prstGeom>
          <a:solidFill>
            <a:srgbClr val="C4D2EE">
              <a:alpha val="85000"/>
            </a:srgb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52" name="Oval 1151">
            <a:extLst>
              <a:ext uri="{FF2B5EF4-FFF2-40B4-BE49-F238E27FC236}">
                <a16:creationId xmlns:a16="http://schemas.microsoft.com/office/drawing/2014/main" id="{E699CE84-B7A0-3745-80AE-A927264F60AC}"/>
              </a:ext>
            </a:extLst>
          </p:cNvPr>
          <p:cNvSpPr/>
          <p:nvPr/>
        </p:nvSpPr>
        <p:spPr>
          <a:xfrm>
            <a:off x="8353986" y="5958832"/>
            <a:ext cx="180000" cy="180000"/>
          </a:xfrm>
          <a:prstGeom prst="ellipse">
            <a:avLst/>
          </a:prstGeom>
          <a:solidFill>
            <a:srgbClr val="C4D2EE">
              <a:alpha val="85000"/>
            </a:srgb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53" name="Oval 1152">
            <a:extLst>
              <a:ext uri="{FF2B5EF4-FFF2-40B4-BE49-F238E27FC236}">
                <a16:creationId xmlns:a16="http://schemas.microsoft.com/office/drawing/2014/main" id="{C58FFC0D-BE12-8CF7-9046-35577F92602B}"/>
              </a:ext>
            </a:extLst>
          </p:cNvPr>
          <p:cNvSpPr/>
          <p:nvPr/>
        </p:nvSpPr>
        <p:spPr>
          <a:xfrm>
            <a:off x="8347157" y="5761362"/>
            <a:ext cx="180000" cy="180000"/>
          </a:xfrm>
          <a:prstGeom prst="ellipse">
            <a:avLst/>
          </a:prstGeom>
          <a:solidFill>
            <a:srgbClr val="89A5DD">
              <a:alpha val="85000"/>
            </a:srgb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  <a:b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54" name="Oval 1153">
            <a:extLst>
              <a:ext uri="{FF2B5EF4-FFF2-40B4-BE49-F238E27FC236}">
                <a16:creationId xmlns:a16="http://schemas.microsoft.com/office/drawing/2014/main" id="{5480CB25-2F2E-6A7C-AC4D-204B0C08722E}"/>
              </a:ext>
            </a:extLst>
          </p:cNvPr>
          <p:cNvSpPr/>
          <p:nvPr/>
        </p:nvSpPr>
        <p:spPr>
          <a:xfrm>
            <a:off x="7961425" y="6022518"/>
            <a:ext cx="180000" cy="180000"/>
          </a:xfrm>
          <a:prstGeom prst="ellipse">
            <a:avLst/>
          </a:prstGeom>
          <a:solidFill>
            <a:srgbClr val="89A5DD">
              <a:alpha val="85000"/>
            </a:srgb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  <a:b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55" name="Oval 1154">
            <a:extLst>
              <a:ext uri="{FF2B5EF4-FFF2-40B4-BE49-F238E27FC236}">
                <a16:creationId xmlns:a16="http://schemas.microsoft.com/office/drawing/2014/main" id="{2A0A7D64-2906-30D8-BA14-A4CCA5C5E07D}"/>
              </a:ext>
            </a:extLst>
          </p:cNvPr>
          <p:cNvSpPr/>
          <p:nvPr/>
        </p:nvSpPr>
        <p:spPr>
          <a:xfrm>
            <a:off x="8695969" y="5874112"/>
            <a:ext cx="180000" cy="180000"/>
          </a:xfrm>
          <a:prstGeom prst="ellipse">
            <a:avLst/>
          </a:prstGeom>
          <a:solidFill>
            <a:srgbClr val="89A5DD">
              <a:alpha val="85000"/>
            </a:srgbClr>
          </a:solidFill>
          <a:ln w="3175">
            <a:solidFill>
              <a:schemeClr val="bg2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W</a:t>
            </a:r>
            <a:b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</a:t>
            </a:r>
          </a:p>
        </p:txBody>
      </p:sp>
      <p:sp>
        <p:nvSpPr>
          <p:cNvPr id="1156" name="Arrow: Chevron 1155">
            <a:extLst>
              <a:ext uri="{FF2B5EF4-FFF2-40B4-BE49-F238E27FC236}">
                <a16:creationId xmlns:a16="http://schemas.microsoft.com/office/drawing/2014/main" id="{0A26019A-1E9A-F75F-CECC-D5B56D196D82}"/>
              </a:ext>
            </a:extLst>
          </p:cNvPr>
          <p:cNvSpPr/>
          <p:nvPr/>
        </p:nvSpPr>
        <p:spPr>
          <a:xfrm rot="5400000">
            <a:off x="3596450" y="1643041"/>
            <a:ext cx="206885" cy="6343120"/>
          </a:xfrm>
          <a:prstGeom prst="chevron">
            <a:avLst>
              <a:gd name="adj" fmla="val 85653"/>
            </a:avLst>
          </a:prstGeom>
          <a:gradFill>
            <a:gsLst>
              <a:gs pos="0">
                <a:schemeClr val="bg2">
                  <a:alpha val="40000"/>
                </a:schemeClr>
              </a:gs>
              <a:gs pos="59000">
                <a:schemeClr val="bg2"/>
              </a:gs>
              <a:gs pos="100000">
                <a:schemeClr val="bg2">
                  <a:alpha val="4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FCC550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194" name="Picture 5">
            <a:extLst>
              <a:ext uri="{FF2B5EF4-FFF2-40B4-BE49-F238E27FC236}">
                <a16:creationId xmlns:a16="http://schemas.microsoft.com/office/drawing/2014/main" id="{2D2FA042-4300-6E49-6727-91E7159938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20260" y="2765451"/>
            <a:ext cx="328427" cy="320252"/>
          </a:xfrm>
          <a:prstGeom prst="rect">
            <a:avLst/>
          </a:prstGeom>
          <a:noFill/>
        </p:spPr>
      </p:pic>
      <p:pic>
        <p:nvPicPr>
          <p:cNvPr id="99" name="bg object 17">
            <a:extLst>
              <a:ext uri="{FF2B5EF4-FFF2-40B4-BE49-F238E27FC236}">
                <a16:creationId xmlns:a16="http://schemas.microsoft.com/office/drawing/2014/main" id="{7BDF4678-1DF3-2093-03BA-FD4DA32D139E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9799320" y="6352540"/>
            <a:ext cx="995666" cy="342899"/>
          </a:xfrm>
          <a:prstGeom prst="rect">
            <a:avLst/>
          </a:prstGeom>
        </p:spPr>
      </p:pic>
      <p:sp>
        <p:nvSpPr>
          <p:cNvPr id="6" name="Star: 5 Points 5">
            <a:extLst>
              <a:ext uri="{FF2B5EF4-FFF2-40B4-BE49-F238E27FC236}">
                <a16:creationId xmlns:a16="http://schemas.microsoft.com/office/drawing/2014/main" id="{C07C00A1-9BB8-CA96-6ACC-F0A2721B6F25}"/>
              </a:ext>
            </a:extLst>
          </p:cNvPr>
          <p:cNvSpPr/>
          <p:nvPr/>
        </p:nvSpPr>
        <p:spPr>
          <a:xfrm>
            <a:off x="10946828" y="1324811"/>
            <a:ext cx="219919" cy="115747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1463A40-B1F4-EE51-BE0C-3EFCA30C8EC8}"/>
              </a:ext>
            </a:extLst>
          </p:cNvPr>
          <p:cNvSpPr/>
          <p:nvPr/>
        </p:nvSpPr>
        <p:spPr>
          <a:xfrm>
            <a:off x="10602744" y="765589"/>
            <a:ext cx="740609" cy="14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00" kern="1200">
                <a:solidFill>
                  <a:srgbClr val="FF0000"/>
                </a:solidFill>
                <a:latin typeface="Arial"/>
              </a:rPr>
              <a:t>GoliatVIND</a:t>
            </a:r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879BD29-B1C5-F969-B4C9-BF8B689AA7F7}"/>
              </a:ext>
            </a:extLst>
          </p:cNvPr>
          <p:cNvCxnSpPr>
            <a:endCxn id="6" idx="0"/>
          </p:cNvCxnSpPr>
          <p:nvPr/>
        </p:nvCxnSpPr>
        <p:spPr>
          <a:xfrm>
            <a:off x="10946828" y="1004851"/>
            <a:ext cx="109960" cy="31996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tar: 5 Points 38">
            <a:extLst>
              <a:ext uri="{FF2B5EF4-FFF2-40B4-BE49-F238E27FC236}">
                <a16:creationId xmlns:a16="http://schemas.microsoft.com/office/drawing/2014/main" id="{3A52944B-AAF5-CA83-3376-85CFB229228B}"/>
              </a:ext>
            </a:extLst>
          </p:cNvPr>
          <p:cNvSpPr/>
          <p:nvPr/>
        </p:nvSpPr>
        <p:spPr>
          <a:xfrm>
            <a:off x="8311981" y="5159164"/>
            <a:ext cx="219919" cy="115747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DCE9AEA-29CB-F7AD-C695-CB625CD1E82F}"/>
              </a:ext>
            </a:extLst>
          </p:cNvPr>
          <p:cNvSpPr/>
          <p:nvPr/>
        </p:nvSpPr>
        <p:spPr>
          <a:xfrm>
            <a:off x="9069047" y="4882527"/>
            <a:ext cx="740609" cy="141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00" kern="1200">
                <a:solidFill>
                  <a:srgbClr val="FF0000"/>
                </a:solidFill>
                <a:latin typeface="Arial"/>
              </a:rPr>
              <a:t>UtsiraVIND</a:t>
            </a:r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54688B5-D842-0130-B090-44CE3E140318}"/>
              </a:ext>
            </a:extLst>
          </p:cNvPr>
          <p:cNvCxnSpPr>
            <a:cxnSpLocks/>
            <a:endCxn id="39" idx="0"/>
          </p:cNvCxnSpPr>
          <p:nvPr/>
        </p:nvCxnSpPr>
        <p:spPr>
          <a:xfrm flipH="1">
            <a:off x="8421941" y="5009887"/>
            <a:ext cx="692658" cy="14927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5EA221FE-038D-6C17-8987-C4A6D76E8462}"/>
              </a:ext>
            </a:extLst>
          </p:cNvPr>
          <p:cNvSpPr/>
          <p:nvPr/>
        </p:nvSpPr>
        <p:spPr>
          <a:xfrm>
            <a:off x="9617473" y="346341"/>
            <a:ext cx="2634599" cy="193243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 b="1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88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3" grpId="0"/>
      <p:bldP spid="1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F8446B12-7391-4711-8B31-112A0B896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95C3354-4EFF-0AB7-CAD2-AC4B445707F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28"/>
          <a:stretch/>
        </p:blipFill>
        <p:spPr>
          <a:xfrm>
            <a:off x="6191245" y="-1"/>
            <a:ext cx="6000750" cy="3988028"/>
          </a:xfrm>
          <a:custGeom>
            <a:avLst/>
            <a:gdLst/>
            <a:ahLst/>
            <a:cxnLst/>
            <a:rect l="l" t="t" r="r" b="b"/>
            <a:pathLst>
              <a:path w="6000750" h="3988028">
                <a:moveTo>
                  <a:pt x="0" y="0"/>
                </a:moveTo>
                <a:lnTo>
                  <a:pt x="6000750" y="0"/>
                </a:lnTo>
                <a:lnTo>
                  <a:pt x="6000750" y="797153"/>
                </a:lnTo>
                <a:lnTo>
                  <a:pt x="6000750" y="2634343"/>
                </a:lnTo>
                <a:lnTo>
                  <a:pt x="6000750" y="3911828"/>
                </a:lnTo>
                <a:lnTo>
                  <a:pt x="3248025" y="3988028"/>
                </a:lnTo>
                <a:lnTo>
                  <a:pt x="0" y="3780026"/>
                </a:lnTo>
                <a:close/>
              </a:path>
            </a:pathLst>
          </a:cu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AC0B7807-0C83-4963-821A-69B172722E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3528992"/>
            <a:ext cx="12192000" cy="757168"/>
            <a:chOff x="0" y="2959818"/>
            <a:chExt cx="12192000" cy="757168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B027EC7-3252-48A2-A7A4-1741F72E47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1524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Freeform: Shape 21">
              <a:extLst>
                <a:ext uri="{FF2B5EF4-FFF2-40B4-BE49-F238E27FC236}">
                  <a16:creationId xmlns:a16="http://schemas.microsoft.com/office/drawing/2014/main" id="{4EBC51E4-7477-4290-BBD0-18AD942C36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blipFill>
              <a:blip r:embed="rId4">
                <a:alphaModFix amt="57000"/>
              </a:blip>
              <a:tile tx="0" ty="0" sx="100000" sy="100000" flip="none" algn="tl"/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7B7AEC80-27B2-AFE0-739D-483BFDE6F5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1"/>
            <a:ext cx="6096000" cy="3892989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7311E374-2959-AEC5-67A7-492986E54766}"/>
              </a:ext>
            </a:extLst>
          </p:cNvPr>
          <p:cNvSpPr/>
          <p:nvPr/>
        </p:nvSpPr>
        <p:spPr>
          <a:xfrm>
            <a:off x="1219200" y="335280"/>
            <a:ext cx="762000" cy="62187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4A78C81-47D1-8B2D-6E2B-3FBCDFE6F0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8443" y="4514859"/>
            <a:ext cx="8533557" cy="229959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38A55B-C40F-E6BD-E121-7A33EBC69303}"/>
              </a:ext>
            </a:extLst>
          </p:cNvPr>
          <p:cNvCxnSpPr/>
          <p:nvPr/>
        </p:nvCxnSpPr>
        <p:spPr>
          <a:xfrm flipV="1">
            <a:off x="1719943" y="76200"/>
            <a:ext cx="4376057" cy="2590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68609C-E892-3C62-0A42-47AC2D527B24}"/>
              </a:ext>
            </a:extLst>
          </p:cNvPr>
          <p:cNvCxnSpPr>
            <a:cxnSpLocks/>
          </p:cNvCxnSpPr>
          <p:nvPr/>
        </p:nvCxnSpPr>
        <p:spPr>
          <a:xfrm>
            <a:off x="1436914" y="957152"/>
            <a:ext cx="4669972" cy="267867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88D56528-EE0C-2D42-F661-A36A7716A9C7}"/>
              </a:ext>
            </a:extLst>
          </p:cNvPr>
          <p:cNvSpPr txBox="1"/>
          <p:nvPr/>
        </p:nvSpPr>
        <p:spPr>
          <a:xfrm>
            <a:off x="179613" y="4636766"/>
            <a:ext cx="324938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</a:rPr>
              <a:t>Floating Wind Project</a:t>
            </a:r>
          </a:p>
          <a:p>
            <a:endParaRPr lang="nb-NO" sz="2400" dirty="0">
              <a:solidFill>
                <a:schemeClr val="bg1"/>
              </a:solidFill>
            </a:endParaRPr>
          </a:p>
          <a:p>
            <a:r>
              <a:rPr lang="nb-NO" sz="2400" dirty="0">
                <a:solidFill>
                  <a:schemeClr val="bg1"/>
                </a:solidFill>
              </a:rPr>
              <a:t>75 (5x15) MW</a:t>
            </a:r>
          </a:p>
          <a:p>
            <a:r>
              <a:rPr lang="nb-NO" sz="2400" dirty="0">
                <a:solidFill>
                  <a:schemeClr val="bg1"/>
                </a:solidFill>
              </a:rPr>
              <a:t>COD 2027</a:t>
            </a:r>
          </a:p>
          <a:p>
            <a:r>
              <a:rPr lang="nb-NO" sz="2400" dirty="0">
                <a:solidFill>
                  <a:schemeClr val="bg1"/>
                </a:solidFill>
              </a:rPr>
              <a:t>300 GWh</a:t>
            </a:r>
          </a:p>
        </p:txBody>
      </p:sp>
    </p:spTree>
    <p:extLst>
      <p:ext uri="{BB962C8B-B14F-4D97-AF65-F5344CB8AC3E}">
        <p14:creationId xmlns:p14="http://schemas.microsoft.com/office/powerpoint/2010/main" val="3052936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05367D-C8DC-020F-B27F-C5C3252AE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69810-250D-479D-8862-F6E368072D9A}" type="slidenum">
              <a:rPr lang="en-GB" b="1" smtClean="0">
                <a:solidFill>
                  <a:srgbClr val="8DC63F"/>
                </a:solidFill>
                <a:latin typeface="Meiryo" panose="020B0604030504040204" pitchFamily="34" charset="-128"/>
                <a:ea typeface="Meiryo" panose="020B0604030504040204" pitchFamily="34" charset="-128"/>
                <a:cs typeface="Aharoni" panose="02010803020104030203" pitchFamily="2" charset="-79"/>
              </a:rPr>
              <a:t>5</a:t>
            </a:fld>
            <a:endParaRPr lang="en-GB" b="1">
              <a:solidFill>
                <a:srgbClr val="8DC63F"/>
              </a:solidFill>
              <a:latin typeface="Meiryo" panose="020B0604030504040204" pitchFamily="34" charset="-128"/>
              <a:ea typeface="Meiryo" panose="020B0604030504040204" pitchFamily="34" charset="-128"/>
              <a:cs typeface="Aharoni" panose="02010803020104030203" pitchFamily="2" charset="-79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6B1D506-AEC8-FDFF-586A-749473D8F67A}"/>
              </a:ext>
            </a:extLst>
          </p:cNvPr>
          <p:cNvSpPr txBox="1">
            <a:spLocks/>
          </p:cNvSpPr>
          <p:nvPr/>
        </p:nvSpPr>
        <p:spPr>
          <a:xfrm>
            <a:off x="347869" y="127986"/>
            <a:ext cx="9521687" cy="5471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1" kern="1200">
                <a:solidFill>
                  <a:srgbClr val="A349A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61E5D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61E5D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61E5D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61E5D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3200" dirty="0"/>
              <a:t>Main takeways</a:t>
            </a:r>
            <a:endParaRPr lang="en-US" sz="2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771E94-FDCF-07E9-4ABA-3573B7AE97FA}"/>
              </a:ext>
            </a:extLst>
          </p:cNvPr>
          <p:cNvSpPr txBox="1">
            <a:spLocks/>
          </p:cNvSpPr>
          <p:nvPr/>
        </p:nvSpPr>
        <p:spPr>
          <a:xfrm>
            <a:off x="5786358" y="1518495"/>
            <a:ext cx="3606120" cy="293423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000"/>
          </a:p>
          <a:p>
            <a:endParaRPr lang="en-GB" sz="20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2FE64E-1035-D619-9B03-3FF57FB1A714}"/>
              </a:ext>
            </a:extLst>
          </p:cNvPr>
          <p:cNvSpPr txBox="1"/>
          <p:nvPr/>
        </p:nvSpPr>
        <p:spPr>
          <a:xfrm>
            <a:off x="239486" y="699536"/>
            <a:ext cx="11952514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b="1" dirty="0"/>
              <a:t>Governmental &amp; Public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Floating Offshore Wind as export industry / employments / value creation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Add resources and competence to the Governmental bodies that will deal with FOW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Qualitative criteria's creates an early incentive for supply chain investments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Governmental surveys and desktop for the developers.</a:t>
            </a:r>
          </a:p>
          <a:p>
            <a:r>
              <a:rPr lang="en-IE" sz="2400" b="1" dirty="0"/>
              <a:t>Developers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Find common interest – work together. Share data!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Joint Industry Project to gain more data faster (for instance Lidar).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Provide analysis and solutions to the Government.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Develop «right size» projects in according to the maturity of the industry. 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Form strong and competent consortia early on.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Make technology choices and schedule in project financing process and requirements.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Strategy Early movers; Supply chain packages vs EPMA</a:t>
            </a:r>
          </a:p>
          <a:p>
            <a:pPr marL="457200" indent="-457200">
              <a:buFont typeface="+mj-lt"/>
              <a:buAutoNum type="arabicParenR"/>
            </a:pPr>
            <a:r>
              <a:rPr lang="en-IE" sz="2400" dirty="0"/>
              <a:t>Lead time &gt; 2 years; WTG, Heavy lift, cables, HV equipment, hull ++</a:t>
            </a:r>
          </a:p>
          <a:p>
            <a:endParaRPr lang="en-IE" sz="2400" dirty="0"/>
          </a:p>
        </p:txBody>
      </p:sp>
    </p:spTree>
    <p:extLst>
      <p:ext uri="{BB962C8B-B14F-4D97-AF65-F5344CB8AC3E}">
        <p14:creationId xmlns:p14="http://schemas.microsoft.com/office/powerpoint/2010/main" val="27608544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E17EF2-32E8-36CC-9E62-50612F408B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Supply chain strateg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0EE7D5-AF9A-D1B4-3028-0EBD8A68A10A}"/>
              </a:ext>
            </a:extLst>
          </p:cNvPr>
          <p:cNvSpPr txBox="1"/>
          <p:nvPr/>
        </p:nvSpPr>
        <p:spPr>
          <a:xfrm>
            <a:off x="413656" y="1037499"/>
            <a:ext cx="6629401" cy="59523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700"/>
              </a:spcAft>
            </a:pPr>
            <a:r>
              <a:rPr lang="en-US" sz="2000" dirty="0">
                <a:ea typeface="+mn-lt"/>
                <a:cs typeface="+mn-lt"/>
              </a:rPr>
              <a:t>Competence within the consortia</a:t>
            </a:r>
          </a:p>
          <a:p>
            <a:pPr>
              <a:lnSpc>
                <a:spcPct val="110000"/>
              </a:lnSpc>
              <a:spcAft>
                <a:spcPts val="700"/>
              </a:spcAft>
            </a:pPr>
            <a:r>
              <a:rPr lang="en-US" sz="2000" dirty="0">
                <a:ea typeface="+mn-lt"/>
                <a:cs typeface="+mn-lt"/>
              </a:rPr>
              <a:t>Realistic schedules with float to accommodate eventualities. </a:t>
            </a:r>
          </a:p>
          <a:p>
            <a:pPr>
              <a:lnSpc>
                <a:spcPct val="110000"/>
              </a:lnSpc>
              <a:spcAft>
                <a:spcPts val="700"/>
              </a:spcAft>
            </a:pPr>
            <a:endParaRPr lang="en-US" sz="2000" dirty="0">
              <a:ea typeface="+mn-lt"/>
              <a:cs typeface="+mn-lt"/>
            </a:endParaRPr>
          </a:p>
          <a:p>
            <a:pPr>
              <a:lnSpc>
                <a:spcPct val="110000"/>
              </a:lnSpc>
              <a:spcAft>
                <a:spcPts val="700"/>
              </a:spcAft>
            </a:pPr>
            <a:r>
              <a:rPr lang="en-US" sz="2000" dirty="0">
                <a:ea typeface="+mn-lt"/>
                <a:cs typeface="+mn-lt"/>
              </a:rPr>
              <a:t>Sufficient available capacity with main contractors </a:t>
            </a:r>
          </a:p>
          <a:p>
            <a:pPr>
              <a:lnSpc>
                <a:spcPct val="110000"/>
              </a:lnSpc>
              <a:spcAft>
                <a:spcPts val="700"/>
              </a:spcAft>
            </a:pPr>
            <a:r>
              <a:rPr lang="en-US" sz="2000" dirty="0">
                <a:ea typeface="+mn-lt"/>
                <a:cs typeface="+mn-lt"/>
              </a:rPr>
              <a:t>Cost awareness with fixed pricing whenever possible. </a:t>
            </a:r>
          </a:p>
          <a:p>
            <a:pPr>
              <a:lnSpc>
                <a:spcPct val="110000"/>
              </a:lnSpc>
              <a:spcAft>
                <a:spcPts val="700"/>
              </a:spcAft>
            </a:pPr>
            <a:r>
              <a:rPr lang="en-US" sz="2000" dirty="0">
                <a:ea typeface="+mn-lt"/>
                <a:cs typeface="+mn-lt"/>
              </a:rPr>
              <a:t>Control and potential prior commitments of Long Lead Items in order to maintain overall schedule. </a:t>
            </a:r>
          </a:p>
          <a:p>
            <a:pPr>
              <a:lnSpc>
                <a:spcPct val="110000"/>
              </a:lnSpc>
              <a:spcAft>
                <a:spcPts val="700"/>
              </a:spcAft>
            </a:pPr>
            <a:endParaRPr lang="en-US" sz="2000" dirty="0">
              <a:ea typeface="+mn-lt"/>
              <a:cs typeface="+mn-lt"/>
            </a:endParaRPr>
          </a:p>
          <a:p>
            <a:pPr>
              <a:lnSpc>
                <a:spcPct val="110000"/>
              </a:lnSpc>
              <a:spcAft>
                <a:spcPts val="700"/>
              </a:spcAft>
            </a:pPr>
            <a:r>
              <a:rPr lang="en-US" sz="2000" dirty="0">
                <a:ea typeface="+mn-lt"/>
                <a:cs typeface="+mn-lt"/>
              </a:rPr>
              <a:t>Detailed control of technology readiness levels for new technology and specific plans for technology development with back-up plans if the technology does not achieve the expected approvals. </a:t>
            </a:r>
          </a:p>
          <a:p>
            <a:pPr>
              <a:lnSpc>
                <a:spcPct val="110000"/>
              </a:lnSpc>
              <a:spcAft>
                <a:spcPts val="700"/>
              </a:spcAft>
            </a:pPr>
            <a:endParaRPr lang="en-US" sz="2000" dirty="0">
              <a:ea typeface="+mn-lt"/>
              <a:cs typeface="+mn-lt"/>
            </a:endParaRPr>
          </a:p>
          <a:p>
            <a:pPr>
              <a:lnSpc>
                <a:spcPct val="110000"/>
              </a:lnSpc>
              <a:spcAft>
                <a:spcPts val="700"/>
              </a:spcAft>
            </a:pPr>
            <a:r>
              <a:rPr lang="en-US" sz="2000" dirty="0">
                <a:ea typeface="+mn-lt"/>
                <a:cs typeface="+mn-lt"/>
              </a:rPr>
              <a:t>Risk assessment and mitigating actions</a:t>
            </a:r>
            <a:endParaRPr lang="en-US" sz="2000" dirty="0"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F5D9A0-3D26-C101-8638-74C0E6C09B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7532" y="4572000"/>
            <a:ext cx="4742326" cy="173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827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TLSHAPE_SL_089d7eb988274527948a1ef4646e8746_BackgroundRectangle">
            <a:extLst>
              <a:ext uri="{FF2B5EF4-FFF2-40B4-BE49-F238E27FC236}">
                <a16:creationId xmlns:a16="http://schemas.microsoft.com/office/drawing/2014/main" id="{42D619D9-7EEF-408A-B01F-CC72B1634F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749367"/>
            <a:ext cx="11633200" cy="1364081"/>
          </a:xfrm>
          <a:prstGeom prst="rect">
            <a:avLst/>
          </a:prstGeom>
          <a:solidFill>
            <a:schemeClr val="accent2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OTLSHAPE_SL_a88f145e4d284420a2baa685af085546_BackgroundRectangle">
            <a:extLst>
              <a:ext uri="{FF2B5EF4-FFF2-40B4-BE49-F238E27FC236}">
                <a16:creationId xmlns:a16="http://schemas.microsoft.com/office/drawing/2014/main" id="{CF31E4BA-2DDA-413D-8F6A-6FF6F843A4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6792" y="5768710"/>
            <a:ext cx="11633200" cy="893794"/>
          </a:xfrm>
          <a:prstGeom prst="rect">
            <a:avLst/>
          </a:prstGeom>
          <a:solidFill>
            <a:schemeClr val="accent1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OTLSHAPE_SL_ffee1e79b85943a28c39454ea880fda8_BackgroundRectangle">
            <a:extLst>
              <a:ext uri="{FF2B5EF4-FFF2-40B4-BE49-F238E27FC236}">
                <a16:creationId xmlns:a16="http://schemas.microsoft.com/office/drawing/2014/main" id="{CA725516-BF6D-40AC-916D-FE02D0477FF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-36166" y="4156530"/>
            <a:ext cx="11633200" cy="1569020"/>
          </a:xfrm>
          <a:prstGeom prst="rect">
            <a:avLst/>
          </a:prstGeom>
          <a:solidFill>
            <a:srgbClr val="70AD47">
              <a:alpha val="1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1" name="OTLSHAPE_SL_9cf0b9a3b4064869b9ae748fb5efbb51_BackgroundRectangle">
            <a:extLst>
              <a:ext uri="{FF2B5EF4-FFF2-40B4-BE49-F238E27FC236}">
                <a16:creationId xmlns:a16="http://schemas.microsoft.com/office/drawing/2014/main" id="{D42D8BE7-7C53-4B49-B22B-645D6CD9FA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4550" y="1818281"/>
            <a:ext cx="11633200" cy="830919"/>
          </a:xfrm>
          <a:prstGeom prst="rect">
            <a:avLst/>
          </a:prstGeom>
          <a:solidFill>
            <a:schemeClr val="accent4">
              <a:alpha val="1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TLSHAPE_SL2A_ca35c7d9e4d84d65a3e9bb8b7c277435_BackgroundRectangle" hidden="1">
            <a:extLst>
              <a:ext uri="{FF2B5EF4-FFF2-40B4-BE49-F238E27FC236}">
                <a16:creationId xmlns:a16="http://schemas.microsoft.com/office/drawing/2014/main" id="{C7E3A0DF-C898-4D71-8229-8DF28AA1A95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66876" y="1818640"/>
            <a:ext cx="10541000" cy="830919"/>
          </a:xfrm>
          <a:prstGeom prst="rect">
            <a:avLst/>
          </a:prstGeom>
          <a:solidFill>
            <a:schemeClr val="accent3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TLSHAPE_SL2A_b26db38b03c649c98a2c542901790b6f_BackgroundRectangle" hidden="1">
            <a:extLst>
              <a:ext uri="{FF2B5EF4-FFF2-40B4-BE49-F238E27FC236}">
                <a16:creationId xmlns:a16="http://schemas.microsoft.com/office/drawing/2014/main" id="{E7B209C6-EF1D-42DE-BD28-1576276A6C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66876" y="2713059"/>
            <a:ext cx="10541000" cy="1977475"/>
          </a:xfrm>
          <a:prstGeom prst="rect">
            <a:avLst/>
          </a:prstGeom>
          <a:solidFill>
            <a:schemeClr val="accent3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8" name="OTLSHAPE_SL2A_f58dd665eee94188acfde0d3c82d71a9_BackgroundRectangle" hidden="1">
            <a:extLst>
              <a:ext uri="{FF2B5EF4-FFF2-40B4-BE49-F238E27FC236}">
                <a16:creationId xmlns:a16="http://schemas.microsoft.com/office/drawing/2014/main" id="{8CB36910-3458-4790-9ECC-BAEBD66DC2D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66876" y="4754033"/>
            <a:ext cx="10541000" cy="889762"/>
          </a:xfrm>
          <a:prstGeom prst="rect">
            <a:avLst/>
          </a:prstGeom>
          <a:solidFill>
            <a:schemeClr val="accent3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OTLSHAPE_SL2A_9d079ef81b044ba9bb5b70c2590ea88b_BackgroundRectangle" hidden="1">
            <a:extLst>
              <a:ext uri="{FF2B5EF4-FFF2-40B4-BE49-F238E27FC236}">
                <a16:creationId xmlns:a16="http://schemas.microsoft.com/office/drawing/2014/main" id="{FD46C39A-31F5-4DA6-A64E-88B0BD35BD5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66876" y="5707295"/>
            <a:ext cx="10541000" cy="554074"/>
          </a:xfrm>
          <a:prstGeom prst="rect">
            <a:avLst/>
          </a:prstGeom>
          <a:solidFill>
            <a:schemeClr val="accent3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TLSHAPE_TB_00000000000000000000000000000000_LeftEndCaps" hidden="1">
            <a:extLst>
              <a:ext uri="{FF2B5EF4-FFF2-40B4-BE49-F238E27FC236}">
                <a16:creationId xmlns:a16="http://schemas.microsoft.com/office/drawing/2014/main" id="{3AA15ADF-0CA4-40B2-88D2-3F7A8150D71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-404080" y="-95023"/>
            <a:ext cx="825500" cy="5080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2</a:t>
            </a:r>
          </a:p>
        </p:txBody>
      </p:sp>
      <p:sp>
        <p:nvSpPr>
          <p:cNvPr id="3" name="OTLSHAPE_TB_00000000000000000000000000000000_RightEndCaps" hidden="1">
            <a:extLst>
              <a:ext uri="{FF2B5EF4-FFF2-40B4-BE49-F238E27FC236}">
                <a16:creationId xmlns:a16="http://schemas.microsoft.com/office/drawing/2014/main" id="{0E7EFDB7-69FF-4A95-9834-B1E753E3FB1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103" y="148509"/>
            <a:ext cx="25648" cy="153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2</a:t>
            </a:r>
          </a:p>
        </p:txBody>
      </p:sp>
      <p:sp>
        <p:nvSpPr>
          <p:cNvPr id="399" name="OTLSHAPE_TB_00000000000000000000000000000000_ScaleContainer">
            <a:extLst>
              <a:ext uri="{FF2B5EF4-FFF2-40B4-BE49-F238E27FC236}">
                <a16:creationId xmlns:a16="http://schemas.microsoft.com/office/drawing/2014/main" id="{B40E23D8-B899-4E6E-9C06-E5AF1B20B73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293876" y="1234440"/>
            <a:ext cx="10414000" cy="381000"/>
          </a:xfrm>
          <a:prstGeom prst="rect">
            <a:avLst/>
          </a:prstGeom>
          <a:solidFill>
            <a:srgbClr val="40404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TLSHAPE_SL_9cf0b9a3b4064869b9ae748fb5efbb51_HeaderRectangle">
            <a:extLst>
              <a:ext uri="{FF2B5EF4-FFF2-40B4-BE49-F238E27FC236}">
                <a16:creationId xmlns:a16="http://schemas.microsoft.com/office/drawing/2014/main" id="{25633857-B41D-4336-9D91-9BA5D9D9332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63500" y="1818640"/>
            <a:ext cx="1104900" cy="830919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OTLSHAPE_SL_089d7eb988274527948a1ef4646e8746_HeaderRectangle">
            <a:extLst>
              <a:ext uri="{FF2B5EF4-FFF2-40B4-BE49-F238E27FC236}">
                <a16:creationId xmlns:a16="http://schemas.microsoft.com/office/drawing/2014/main" id="{153CF6A8-2361-4CFB-AE55-A45CF232882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3500" y="2713060"/>
            <a:ext cx="1104900" cy="1315808"/>
          </a:xfrm>
          <a:prstGeom prst="rect">
            <a:avLst/>
          </a:prstGeom>
          <a:solidFill>
            <a:srgbClr val="ED7D3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TLSHAPE_SL_a88f145e4d284420a2baa685af085546_HeaderRectangle">
            <a:extLst>
              <a:ext uri="{FF2B5EF4-FFF2-40B4-BE49-F238E27FC236}">
                <a16:creationId xmlns:a16="http://schemas.microsoft.com/office/drawing/2014/main" id="{3E1849CF-8999-43D1-808F-BCD0DBA546F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63500" y="5796176"/>
            <a:ext cx="1104900" cy="838861"/>
          </a:xfrm>
          <a:prstGeom prst="rect">
            <a:avLst/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OTLSHAPE_SL_ffee1e79b85943a28c39454ea880fda8_HeaderRectangle">
            <a:extLst>
              <a:ext uri="{FF2B5EF4-FFF2-40B4-BE49-F238E27FC236}">
                <a16:creationId xmlns:a16="http://schemas.microsoft.com/office/drawing/2014/main" id="{52A8538F-A6C9-45FD-BE99-03B137BD0D46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3195" y="4220467"/>
            <a:ext cx="1104900" cy="1463663"/>
          </a:xfrm>
          <a:prstGeom prst="rect">
            <a:avLst/>
          </a:prstGeom>
          <a:solidFill>
            <a:srgbClr val="70AD4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OTLSHAPE_SL2A_ca35c7d9e4d84d65a3e9bb8b7c277435_HeaderRectangle" hidden="1">
            <a:extLst>
              <a:ext uri="{FF2B5EF4-FFF2-40B4-BE49-F238E27FC236}">
                <a16:creationId xmlns:a16="http://schemas.microsoft.com/office/drawing/2014/main" id="{91F31A8D-90B4-4DAF-BDF1-A67DA5C8D61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66876" y="1818640"/>
            <a:ext cx="0" cy="0"/>
          </a:xfrm>
          <a:prstGeom prst="rect">
            <a:avLst/>
          </a:prstGeom>
          <a:solidFill>
            <a:schemeClr val="accent4">
              <a:alpha val="24706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TLSHAPE_SL2A_b26db38b03c649c98a2c542901790b6f_HeaderRectangle" hidden="1">
            <a:extLst>
              <a:ext uri="{FF2B5EF4-FFF2-40B4-BE49-F238E27FC236}">
                <a16:creationId xmlns:a16="http://schemas.microsoft.com/office/drawing/2014/main" id="{346BD1BC-1AE0-4C4D-8D39-91F0C165F4F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66876" y="2713059"/>
            <a:ext cx="0" cy="0"/>
          </a:xfrm>
          <a:prstGeom prst="rect">
            <a:avLst/>
          </a:prstGeom>
          <a:solidFill>
            <a:schemeClr val="accent2">
              <a:alpha val="24706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6" name="OTLSHAPE_SL2A_f58dd665eee94188acfde0d3c82d71a9_HeaderRectangle" hidden="1">
            <a:extLst>
              <a:ext uri="{FF2B5EF4-FFF2-40B4-BE49-F238E27FC236}">
                <a16:creationId xmlns:a16="http://schemas.microsoft.com/office/drawing/2014/main" id="{D7E2B8FE-86AE-45A0-82B7-5E7DF966C6F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166876" y="4754033"/>
            <a:ext cx="0" cy="0"/>
          </a:xfrm>
          <a:prstGeom prst="rect">
            <a:avLst/>
          </a:prstGeom>
          <a:solidFill>
            <a:schemeClr val="accent6">
              <a:alpha val="24706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OTLSHAPE_SL2A_9d079ef81b044ba9bb5b70c2590ea88b_HeaderRectangle" hidden="1">
            <a:extLst>
              <a:ext uri="{FF2B5EF4-FFF2-40B4-BE49-F238E27FC236}">
                <a16:creationId xmlns:a16="http://schemas.microsoft.com/office/drawing/2014/main" id="{E8E53EDF-6D9E-42DC-8F41-C7EBE97A4EE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1166876" y="5707295"/>
            <a:ext cx="0" cy="0"/>
          </a:xfrm>
          <a:prstGeom prst="rect">
            <a:avLst/>
          </a:prstGeom>
          <a:solidFill>
            <a:schemeClr val="accent1">
              <a:alpha val="24706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OTLSHAPE_G_00000000000000000000000000000000_ShapeBelow0">
            <a:extLst>
              <a:ext uri="{FF2B5EF4-FFF2-40B4-BE49-F238E27FC236}">
                <a16:creationId xmlns:a16="http://schemas.microsoft.com/office/drawing/2014/main" id="{04DEF928-402E-4B91-BC37-50FEA08D0282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>
            <a:off x="3326540" y="1694453"/>
            <a:ext cx="0" cy="4645929"/>
          </a:xfrm>
          <a:prstGeom prst="line">
            <a:avLst/>
          </a:prstGeom>
          <a:ln w="9525" cap="flat" cmpd="sng" algn="ctr">
            <a:solidFill>
              <a:schemeClr val="dk1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OTLSHAPE_G_00000000000000000000000000000000_ShapeBelow1">
            <a:extLst>
              <a:ext uri="{FF2B5EF4-FFF2-40B4-BE49-F238E27FC236}">
                <a16:creationId xmlns:a16="http://schemas.microsoft.com/office/drawing/2014/main" id="{28DD4EF5-B90E-4811-8256-E35966D50C34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>
            <a:off x="6452369" y="1615440"/>
            <a:ext cx="0" cy="4645929"/>
          </a:xfrm>
          <a:prstGeom prst="line">
            <a:avLst/>
          </a:prstGeom>
          <a:ln w="9525" cap="flat" cmpd="sng" algn="ctr">
            <a:solidFill>
              <a:schemeClr val="dk1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OTLSHAPE_G_00000000000000000000000000000000_ShapeBelow2">
            <a:extLst>
              <a:ext uri="{FF2B5EF4-FFF2-40B4-BE49-F238E27FC236}">
                <a16:creationId xmlns:a16="http://schemas.microsoft.com/office/drawing/2014/main" id="{CFD70AC4-4C8C-43A5-9CDF-9982B911EFE9}"/>
              </a:ext>
            </a:extLst>
          </p:cNvPr>
          <p:cNvCxnSpPr/>
          <p:nvPr>
            <p:custDataLst>
              <p:tags r:id="rId23"/>
            </p:custDataLst>
          </p:nvPr>
        </p:nvCxnSpPr>
        <p:spPr>
          <a:xfrm>
            <a:off x="9074365" y="1615440"/>
            <a:ext cx="0" cy="4645929"/>
          </a:xfrm>
          <a:prstGeom prst="line">
            <a:avLst/>
          </a:prstGeom>
          <a:ln w="9525" cap="flat" cmpd="sng" algn="ctr">
            <a:solidFill>
              <a:schemeClr val="dk1">
                <a:alpha val="14902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OTLSHAPE_SLT_bf0bab4e98f54763a82568a5d219a5c7_Shape">
            <a:extLst>
              <a:ext uri="{FF2B5EF4-FFF2-40B4-BE49-F238E27FC236}">
                <a16:creationId xmlns:a16="http://schemas.microsoft.com/office/drawing/2014/main" id="{44BD0B0E-DD25-401E-8CAB-AA4946BE7AD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357591" y="2047992"/>
            <a:ext cx="3066278" cy="216814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9" name="OTLSHAPE_SLT_1f3ecdb523214d1c858ab8fb12392a13_Shape">
            <a:extLst>
              <a:ext uri="{FF2B5EF4-FFF2-40B4-BE49-F238E27FC236}">
                <a16:creationId xmlns:a16="http://schemas.microsoft.com/office/drawing/2014/main" id="{C4E5A75A-BFA2-40E8-B57A-5B4DA777E20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1293876" y="1830770"/>
            <a:ext cx="1981112" cy="248842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1" name="OTLSHAPE_SLT_44de9765e7204557b88297f4709b8c30_Shape">
            <a:extLst>
              <a:ext uri="{FF2B5EF4-FFF2-40B4-BE49-F238E27FC236}">
                <a16:creationId xmlns:a16="http://schemas.microsoft.com/office/drawing/2014/main" id="{433490E4-9310-46F6-8AC0-EF7ED9C7C11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1252250" y="2775663"/>
            <a:ext cx="1828800" cy="178079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OTLSHAPE_SLT_40c7696c8b3a4b1db83d76730e5d92c2_Shape">
            <a:extLst>
              <a:ext uri="{FF2B5EF4-FFF2-40B4-BE49-F238E27FC236}">
                <a16:creationId xmlns:a16="http://schemas.microsoft.com/office/drawing/2014/main" id="{27A10655-86DB-454C-A98C-87C1246F625A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3469942" y="3308031"/>
            <a:ext cx="2563617" cy="222904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OTLSHAPE_SLT_c7770eb3e434445083ebf0cda53241c7_Shape">
            <a:extLst>
              <a:ext uri="{FF2B5EF4-FFF2-40B4-BE49-F238E27FC236}">
                <a16:creationId xmlns:a16="http://schemas.microsoft.com/office/drawing/2014/main" id="{6727934F-BE75-42DF-A589-49FEB2239D37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2202578" y="2975519"/>
            <a:ext cx="1828800" cy="325238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2" name="OTLSHAPE_SLT_f1b03b9fadb246d6b74eef66d2c662d1_Shape">
            <a:extLst>
              <a:ext uri="{FF2B5EF4-FFF2-40B4-BE49-F238E27FC236}">
                <a16:creationId xmlns:a16="http://schemas.microsoft.com/office/drawing/2014/main" id="{2EC68B91-759E-4BE2-92C9-FB12B30AE322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628986" y="3563250"/>
            <a:ext cx="3445052" cy="195683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OTLSHAPE_SLT_71feb0897c2b47d28678366d0661913b_Shape">
            <a:extLst>
              <a:ext uri="{FF2B5EF4-FFF2-40B4-BE49-F238E27FC236}">
                <a16:creationId xmlns:a16="http://schemas.microsoft.com/office/drawing/2014/main" id="{94E1F87A-8F35-4269-8B2D-CEF5B3FBBFA7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3281660" y="4170640"/>
            <a:ext cx="1589001" cy="409274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OTLSHAPE_SLT_a0005013d1434eca8799fe0021a266e0_Shape">
            <a:extLst>
              <a:ext uri="{FF2B5EF4-FFF2-40B4-BE49-F238E27FC236}">
                <a16:creationId xmlns:a16="http://schemas.microsoft.com/office/drawing/2014/main" id="{E2247E53-4EC7-4B8D-A58B-975E6E0F9D47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6452031" y="5407306"/>
            <a:ext cx="2610328" cy="179612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gotiated Final DD Reports</a:t>
            </a:r>
          </a:p>
        </p:txBody>
      </p:sp>
      <p:sp>
        <p:nvSpPr>
          <p:cNvPr id="141" name="OTLSHAPE_SLT_fa8886b769a54c02817aaba54576e921_Shape">
            <a:extLst>
              <a:ext uri="{FF2B5EF4-FFF2-40B4-BE49-F238E27FC236}">
                <a16:creationId xmlns:a16="http://schemas.microsoft.com/office/drawing/2014/main" id="{4DF28A83-223D-4DB2-9C20-9395520A61BB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4041952" y="4599315"/>
            <a:ext cx="915630" cy="36694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OTLSHAPE_SLT_db841b2dc0b5434e83008cd4d4e540bc_Shape">
            <a:extLst>
              <a:ext uri="{FF2B5EF4-FFF2-40B4-BE49-F238E27FC236}">
                <a16:creationId xmlns:a16="http://schemas.microsoft.com/office/drawing/2014/main" id="{69C173A0-1D8C-4B09-B498-F9DD81C21148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9093353" y="5507742"/>
            <a:ext cx="2465233" cy="194502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ditions Precedent Discharged</a:t>
            </a:r>
          </a:p>
        </p:txBody>
      </p:sp>
      <p:sp>
        <p:nvSpPr>
          <p:cNvPr id="159" name="OTLSHAPE_SLT_eeb83e503ffe4a72a203fede87f23081_Shape">
            <a:extLst>
              <a:ext uri="{FF2B5EF4-FFF2-40B4-BE49-F238E27FC236}">
                <a16:creationId xmlns:a16="http://schemas.microsoft.com/office/drawing/2014/main" id="{1E0323F6-13B7-4F12-ACA6-43BCE60E0A59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6459921" y="2215420"/>
            <a:ext cx="2585939" cy="183779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date with final assumptions</a:t>
            </a:r>
          </a:p>
        </p:txBody>
      </p:sp>
      <p:sp>
        <p:nvSpPr>
          <p:cNvPr id="180" name="OTLSHAPE_SLT_c60910096d5a4b6f9de76b63feadcf94_Shape">
            <a:extLst>
              <a:ext uri="{FF2B5EF4-FFF2-40B4-BE49-F238E27FC236}">
                <a16:creationId xmlns:a16="http://schemas.microsoft.com/office/drawing/2014/main" id="{11FA8F44-CE46-4F40-8F67-44C301B05425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10203504" y="3792406"/>
            <a:ext cx="1407359" cy="283912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4" name="OTLSHAPE_SLT_79eebf0cc03e4ea08540b80882717e0a_Shape">
            <a:extLst>
              <a:ext uri="{FF2B5EF4-FFF2-40B4-BE49-F238E27FC236}">
                <a16:creationId xmlns:a16="http://schemas.microsoft.com/office/drawing/2014/main" id="{F508A147-1AF0-4C82-885B-94132178295D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9102871" y="2442372"/>
            <a:ext cx="2593487" cy="181787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0" name="OTLSHAPE_TB_00000000000000000000000000000000_ElapsedTime">
            <a:extLst>
              <a:ext uri="{FF2B5EF4-FFF2-40B4-BE49-F238E27FC236}">
                <a16:creationId xmlns:a16="http://schemas.microsoft.com/office/drawing/2014/main" id="{3591C203-6925-498F-9FAF-E56DDF1A36DC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1293876" y="1539240"/>
            <a:ext cx="1282700" cy="76200"/>
          </a:xfrm>
          <a:prstGeom prst="rect">
            <a:avLst/>
          </a:prstGeom>
          <a:solidFill>
            <a:srgbClr val="FF0000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OTLSHAPE_SLM_42c1a0ca0ec74680a58bbd3c49f9125b_Shape">
            <a:extLst>
              <a:ext uri="{FF2B5EF4-FFF2-40B4-BE49-F238E27FC236}">
                <a16:creationId xmlns:a16="http://schemas.microsoft.com/office/drawing/2014/main" id="{3E031247-4E58-4E61-866E-B0E218BD82B8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3761428" y="6091598"/>
            <a:ext cx="5165207" cy="272850"/>
          </a:xfrm>
          <a:prstGeom prst="parallelogram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OTLSHAPE_SLM_05f5e22b071042a1a1dc59615bb4c469_Shape">
            <a:extLst>
              <a:ext uri="{FF2B5EF4-FFF2-40B4-BE49-F238E27FC236}">
                <a16:creationId xmlns:a16="http://schemas.microsoft.com/office/drawing/2014/main" id="{C3B83F96-6495-4ED0-83D4-46835AEE24C6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1244196" y="5875228"/>
            <a:ext cx="2568159" cy="324341"/>
          </a:xfrm>
          <a:prstGeom prst="parallelogram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ze, Structure. Ph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ponsor Equity Requirement</a:t>
            </a:r>
          </a:p>
        </p:txBody>
      </p:sp>
      <p:sp>
        <p:nvSpPr>
          <p:cNvPr id="229" name="OTLSHAPE_SLM_38f7caf9b7404674b5040d0ab204f9f9_Shape">
            <a:extLst>
              <a:ext uri="{FF2B5EF4-FFF2-40B4-BE49-F238E27FC236}">
                <a16:creationId xmlns:a16="http://schemas.microsoft.com/office/drawing/2014/main" id="{0081D20F-5254-4E31-BF72-F35F5B027E1C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8926635" y="6314658"/>
            <a:ext cx="2621995" cy="292913"/>
          </a:xfrm>
          <a:prstGeom prst="parallelogram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ty Contribution to SPV @ FC</a:t>
            </a:r>
          </a:p>
        </p:txBody>
      </p:sp>
      <p:sp>
        <p:nvSpPr>
          <p:cNvPr id="22" name="OTLSHAPE_SLT_1f3ecdb523214d1c858ab8fb12392a13_ShapePercentage" hidden="1">
            <a:extLst>
              <a:ext uri="{FF2B5EF4-FFF2-40B4-BE49-F238E27FC236}">
                <a16:creationId xmlns:a16="http://schemas.microsoft.com/office/drawing/2014/main" id="{A4703D4F-11F7-4703-BE00-55AB070AB809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1322376" y="1898481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TLSHAPE_SLT_bf0bab4e98f54763a82568a5d219a5c7_ShapePercentage" hidden="1">
            <a:extLst>
              <a:ext uri="{FF2B5EF4-FFF2-40B4-BE49-F238E27FC236}">
                <a16:creationId xmlns:a16="http://schemas.microsoft.com/office/drawing/2014/main" id="{98DD6732-0726-4A4B-90BD-083DD0E53C36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2063375" y="2148840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OTLSHAPE_SLT_79eebf0cc03e4ea08540b80882717e0a_ShapePercentage" hidden="1">
            <a:extLst>
              <a:ext uri="{FF2B5EF4-FFF2-40B4-BE49-F238E27FC236}">
                <a16:creationId xmlns:a16="http://schemas.microsoft.com/office/drawing/2014/main" id="{3C0C743A-03B8-4FF5-B674-D356EC8B3B14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6820988" y="2399199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OTLSHAPE_SLT_eeb83e503ffe4a72a203fede87f23081_ShapePercentage" hidden="1">
            <a:extLst>
              <a:ext uri="{FF2B5EF4-FFF2-40B4-BE49-F238E27FC236}">
                <a16:creationId xmlns:a16="http://schemas.microsoft.com/office/drawing/2014/main" id="{A1A8C167-B452-406E-8DE0-04D4F686F2FB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5682870" y="2399199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3" name="OTLSHAPE_SLT_118aa262c9b048e19e0b2ecc51e36c38_ShapePercentage" hidden="1">
            <a:extLst>
              <a:ext uri="{FF2B5EF4-FFF2-40B4-BE49-F238E27FC236}">
                <a16:creationId xmlns:a16="http://schemas.microsoft.com/office/drawing/2014/main" id="{5ECF69C9-2718-46DF-9028-FC4910E3F9E3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3887372" y="2399199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3" name="OTLSHAPE_SLT_840d1906cb104b01bde15bb78e8e323b_ShapePercentage" hidden="1">
            <a:extLst>
              <a:ext uri="{FF2B5EF4-FFF2-40B4-BE49-F238E27FC236}">
                <a16:creationId xmlns:a16="http://schemas.microsoft.com/office/drawing/2014/main" id="{4A93A954-2D79-4DFA-9B8F-112A3B8B18C9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2821711" y="2399199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1" name="OTLSHAPE_SLT_44de9765e7204557b88297f4709b8c30_ShapePercentage" hidden="1">
            <a:extLst>
              <a:ext uri="{FF2B5EF4-FFF2-40B4-BE49-F238E27FC236}">
                <a16:creationId xmlns:a16="http://schemas.microsoft.com/office/drawing/2014/main" id="{2FA572B8-C469-4F8D-B465-465A4ECF27C7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2230872" y="3077718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7" name="OTLSHAPE_SLT_8d38abf6434f49b59dc24ae1ee36935e_ShapePercentage" hidden="1">
            <a:extLst>
              <a:ext uri="{FF2B5EF4-FFF2-40B4-BE49-F238E27FC236}">
                <a16:creationId xmlns:a16="http://schemas.microsoft.com/office/drawing/2014/main" id="{F55B5190-92BA-4C27-B32B-7E664B7DCCD2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3887372" y="3077718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7" name="OTLSHAPE_SLT_c7770eb3e434445083ebf0cda53241c7_ShapePercentage" hidden="1">
            <a:extLst>
              <a:ext uri="{FF2B5EF4-FFF2-40B4-BE49-F238E27FC236}">
                <a16:creationId xmlns:a16="http://schemas.microsoft.com/office/drawing/2014/main" id="{7739D98A-481E-4F7F-ABA7-B5EE8B11F9AC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3887372" y="3654637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4" name="OTLSHAPE_SLT_40c7696c8b3a4b1db83d76730e5d92c2_ShapePercentage" hidden="1">
            <a:extLst>
              <a:ext uri="{FF2B5EF4-FFF2-40B4-BE49-F238E27FC236}">
                <a16:creationId xmlns:a16="http://schemas.microsoft.com/office/drawing/2014/main" id="{66FF6465-315B-4284-90D8-B207D3EF4CF7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5739692" y="3654637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OTLSHAPE_SLT_f1b03b9fadb246d6b74eef66d2c662d1_ShapePercentage" hidden="1">
            <a:extLst>
              <a:ext uri="{FF2B5EF4-FFF2-40B4-BE49-F238E27FC236}">
                <a16:creationId xmlns:a16="http://schemas.microsoft.com/office/drawing/2014/main" id="{DAAAD59C-B7D5-43F5-900F-DC137CC90889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6623369" y="4231555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OTLSHAPE_SLT_c60910096d5a4b6f9de76b63feadcf94_ShapePercentage" hidden="1">
            <a:extLst>
              <a:ext uri="{FF2B5EF4-FFF2-40B4-BE49-F238E27FC236}">
                <a16:creationId xmlns:a16="http://schemas.microsoft.com/office/drawing/2014/main" id="{E1E2A8D8-2EDC-4EB4-91AC-17C827CB41C8}"/>
              </a:ext>
            </a:extLst>
          </p:cNvPr>
          <p:cNvSpPr/>
          <p:nvPr>
            <p:custDataLst>
              <p:tags r:id="rId52"/>
            </p:custDataLst>
          </p:nvPr>
        </p:nvSpPr>
        <p:spPr>
          <a:xfrm>
            <a:off x="7392867" y="4481915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OTLSHAPE_SLT_71feb0897c2b47d28678366d0661913b_ShapePercentage" hidden="1">
            <a:extLst>
              <a:ext uri="{FF2B5EF4-FFF2-40B4-BE49-F238E27FC236}">
                <a16:creationId xmlns:a16="http://schemas.microsoft.com/office/drawing/2014/main" id="{B9DEB792-D853-495E-92A8-E164786E076D}"/>
              </a:ext>
            </a:extLst>
          </p:cNvPr>
          <p:cNvSpPr/>
          <p:nvPr>
            <p:custDataLst>
              <p:tags r:id="rId53"/>
            </p:custDataLst>
          </p:nvPr>
        </p:nvSpPr>
        <p:spPr>
          <a:xfrm>
            <a:off x="2644319" y="5308177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OTLSHAPE_SLT_fa8886b769a54c02817aaba54576e921_ShapePercentage" hidden="1">
            <a:extLst>
              <a:ext uri="{FF2B5EF4-FFF2-40B4-BE49-F238E27FC236}">
                <a16:creationId xmlns:a16="http://schemas.microsoft.com/office/drawing/2014/main" id="{8BB1A718-BC58-444B-8A4A-E97851870446}"/>
              </a:ext>
            </a:extLst>
          </p:cNvPr>
          <p:cNvSpPr/>
          <p:nvPr>
            <p:custDataLst>
              <p:tags r:id="rId54"/>
            </p:custDataLst>
          </p:nvPr>
        </p:nvSpPr>
        <p:spPr>
          <a:xfrm>
            <a:off x="3861920" y="5308177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OTLSHAPE_SLT_a0005013d1434eca8799fe0021a266e0_ShapePercentage" hidden="1">
            <a:extLst>
              <a:ext uri="{FF2B5EF4-FFF2-40B4-BE49-F238E27FC236}">
                <a16:creationId xmlns:a16="http://schemas.microsoft.com/office/drawing/2014/main" id="{247FCA29-0C64-4A54-ACD0-8109D072D359}"/>
              </a:ext>
            </a:extLst>
          </p:cNvPr>
          <p:cNvSpPr/>
          <p:nvPr>
            <p:custDataLst>
              <p:tags r:id="rId55"/>
            </p:custDataLst>
          </p:nvPr>
        </p:nvSpPr>
        <p:spPr>
          <a:xfrm>
            <a:off x="8237020" y="5308177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OTLSHAPE_SLT_db841b2dc0b5434e83008cd4d4e540bc_ShapePercentage" hidden="1">
            <a:extLst>
              <a:ext uri="{FF2B5EF4-FFF2-40B4-BE49-F238E27FC236}">
                <a16:creationId xmlns:a16="http://schemas.microsoft.com/office/drawing/2014/main" id="{891DB207-4F73-4FC8-B473-470640F19793}"/>
              </a:ext>
            </a:extLst>
          </p:cNvPr>
          <p:cNvSpPr/>
          <p:nvPr>
            <p:custDataLst>
              <p:tags r:id="rId56"/>
            </p:custDataLst>
          </p:nvPr>
        </p:nvSpPr>
        <p:spPr>
          <a:xfrm>
            <a:off x="9646641" y="5308177"/>
            <a:ext cx="0" cy="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dk1">
              <a:alpha val="34902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TLSHAPE_SL_9cf0b9a3b4064869b9ae748fb5efbb51_Header">
            <a:extLst>
              <a:ext uri="{FF2B5EF4-FFF2-40B4-BE49-F238E27FC236}">
                <a16:creationId xmlns:a16="http://schemas.microsoft.com/office/drawing/2014/main" id="{DE487498-AFF0-4E41-8BE2-DC7A6B94BFFA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63500" y="2141072"/>
            <a:ext cx="1104900" cy="18605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vestment Appraisal</a:t>
            </a:r>
          </a:p>
        </p:txBody>
      </p:sp>
      <p:sp>
        <p:nvSpPr>
          <p:cNvPr id="40" name="OTLSHAPE_SL_089d7eb988274527948a1ef4646e8746_Header">
            <a:extLst>
              <a:ext uri="{FF2B5EF4-FFF2-40B4-BE49-F238E27FC236}">
                <a16:creationId xmlns:a16="http://schemas.microsoft.com/office/drawing/2014/main" id="{8483E04F-A955-44C0-851D-07FCE6067C35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134392" y="3139153"/>
            <a:ext cx="894032" cy="58757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ject Financing – Deb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3" name="OTLSHAPE_SL_a88f145e4d284420a2baa685af085546_Header">
            <a:extLst>
              <a:ext uri="{FF2B5EF4-FFF2-40B4-BE49-F238E27FC236}">
                <a16:creationId xmlns:a16="http://schemas.microsoft.com/office/drawing/2014/main" id="{0BA53E09-3B2F-4340-8A29-0B2767C9A43B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45481" y="5853224"/>
            <a:ext cx="1104900" cy="75434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ponsors Equity</a:t>
            </a:r>
          </a:p>
        </p:txBody>
      </p:sp>
      <p:sp>
        <p:nvSpPr>
          <p:cNvPr id="170" name="OTLSHAPE_SL_ffee1e79b85943a28c39454ea880fda8_Header">
            <a:extLst>
              <a:ext uri="{FF2B5EF4-FFF2-40B4-BE49-F238E27FC236}">
                <a16:creationId xmlns:a16="http://schemas.microsoft.com/office/drawing/2014/main" id="{4AA4FE4A-816B-480F-896C-62882CE3D026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16295" y="4517839"/>
            <a:ext cx="1104900" cy="71663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ject Due Diligence</a:t>
            </a:r>
          </a:p>
        </p:txBody>
      </p:sp>
      <p:sp>
        <p:nvSpPr>
          <p:cNvPr id="5" name="OTLSHAPE_SL2A_ca35c7d9e4d84d65a3e9bb8b7c277435_Header" hidden="1">
            <a:extLst>
              <a:ext uri="{FF2B5EF4-FFF2-40B4-BE49-F238E27FC236}">
                <a16:creationId xmlns:a16="http://schemas.microsoft.com/office/drawing/2014/main" id="{4DC4B290-6E17-475B-A0F6-187C02F22CF4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12700" y="-187353"/>
            <a:ext cx="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3" name="OTLSHAPE_SL2A_b26db38b03c649c98a2c542901790b6f_Header" hidden="1">
            <a:extLst>
              <a:ext uri="{FF2B5EF4-FFF2-40B4-BE49-F238E27FC236}">
                <a16:creationId xmlns:a16="http://schemas.microsoft.com/office/drawing/2014/main" id="{7DDCFEC6-141F-43A4-98DF-848E678B5758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12700" y="-187353"/>
            <a:ext cx="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67" name="OTLSHAPE_SL2A_f58dd665eee94188acfde0d3c82d71a9_Header" hidden="1">
            <a:extLst>
              <a:ext uri="{FF2B5EF4-FFF2-40B4-BE49-F238E27FC236}">
                <a16:creationId xmlns:a16="http://schemas.microsoft.com/office/drawing/2014/main" id="{C4A02A60-3189-4101-9111-B27E710A21E3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12700" y="-187353"/>
            <a:ext cx="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4" name="OTLSHAPE_SL2A_9d079ef81b044ba9bb5b70c2590ea88b_Header" hidden="1">
            <a:extLst>
              <a:ext uri="{FF2B5EF4-FFF2-40B4-BE49-F238E27FC236}">
                <a16:creationId xmlns:a16="http://schemas.microsoft.com/office/drawing/2014/main" id="{B97F6ACF-849D-4422-9013-4351021CDAC2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12700" y="-187353"/>
            <a:ext cx="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OTLSHAPE_TB_00000000000000000000000000000000_TodayMarkerShape" hidden="1">
            <a:extLst>
              <a:ext uri="{FF2B5EF4-FFF2-40B4-BE49-F238E27FC236}">
                <a16:creationId xmlns:a16="http://schemas.microsoft.com/office/drawing/2014/main" id="{BE316E76-F914-4119-8EC6-FA9123176B71}"/>
              </a:ext>
            </a:extLst>
          </p:cNvPr>
          <p:cNvSpPr/>
          <p:nvPr>
            <p:custDataLst>
              <p:tags r:id="rId65"/>
            </p:custDataLst>
          </p:nvPr>
        </p:nvSpPr>
        <p:spPr>
          <a:xfrm>
            <a:off x="2516332" y="1615440"/>
            <a:ext cx="114300" cy="127000"/>
          </a:xfrm>
          <a:prstGeom prst="triangle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TLSHAPE_TB_00000000000000000000000000000000_TimescaleInterval1">
            <a:extLst>
              <a:ext uri="{FF2B5EF4-FFF2-40B4-BE49-F238E27FC236}">
                <a16:creationId xmlns:a16="http://schemas.microsoft.com/office/drawing/2014/main" id="{7C46D9AE-762E-4F50-A81D-30E793221C86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2129177" y="1308926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3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e DG2</a:t>
            </a:r>
          </a:p>
        </p:txBody>
      </p:sp>
      <p:sp>
        <p:nvSpPr>
          <p:cNvPr id="9" name="OTLSHAPE_TB_00000000000000000000000000000000_TimescaleInterval2">
            <a:extLst>
              <a:ext uri="{FF2B5EF4-FFF2-40B4-BE49-F238E27FC236}">
                <a16:creationId xmlns:a16="http://schemas.microsoft.com/office/drawing/2014/main" id="{D6FFDCBD-8ABA-4274-8A98-CF6EA405B9C8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3613371" y="1307488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3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velopment </a:t>
            </a:r>
            <a:r>
              <a:rPr kumimoji="0" lang="en-US" sz="1400" b="0" i="0" u="none" strike="noStrike" kern="1200" cap="none" spc="-3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anose="05000000000000000000" pitchFamily="2" charset="2"/>
              </a:rPr>
              <a:t> Ready to Build (RTB)</a:t>
            </a:r>
            <a:endParaRPr kumimoji="0" lang="en-US" sz="1400" b="0" i="0" u="none" strike="noStrike" kern="1200" cap="none" spc="-38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OTLSHAPE_TB_00000000000000000000000000000000_TimescaleInterval3">
            <a:extLst>
              <a:ext uri="{FF2B5EF4-FFF2-40B4-BE49-F238E27FC236}">
                <a16:creationId xmlns:a16="http://schemas.microsoft.com/office/drawing/2014/main" id="{AD0F9F2A-EDBF-45B2-904D-984630FC0F10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6727786" y="1308463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3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inal Investment Decision (FID)</a:t>
            </a:r>
          </a:p>
        </p:txBody>
      </p:sp>
      <p:sp>
        <p:nvSpPr>
          <p:cNvPr id="11" name="OTLSHAPE_TB_00000000000000000000000000000000_TimescaleInterval4">
            <a:extLst>
              <a:ext uri="{FF2B5EF4-FFF2-40B4-BE49-F238E27FC236}">
                <a16:creationId xmlns:a16="http://schemas.microsoft.com/office/drawing/2014/main" id="{01F18C11-A2E5-4455-AFA2-4F4F9E8E6515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9571141" y="1316419"/>
            <a:ext cx="203389" cy="21704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3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inancial Close (FC)</a:t>
            </a:r>
          </a:p>
        </p:txBody>
      </p:sp>
      <p:sp>
        <p:nvSpPr>
          <p:cNvPr id="62" name="OTLSHAPE_SLT_bf0bab4e98f54763a82568a5d219a5c7_Title">
            <a:extLst>
              <a:ext uri="{FF2B5EF4-FFF2-40B4-BE49-F238E27FC236}">
                <a16:creationId xmlns:a16="http://schemas.microsoft.com/office/drawing/2014/main" id="{D33DE106-903A-43B3-9BCC-46D8A09FAB68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3806537" y="2091753"/>
            <a:ext cx="2052282" cy="14875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8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date with external estimates</a:t>
            </a:r>
          </a:p>
        </p:txBody>
      </p:sp>
      <p:sp>
        <p:nvSpPr>
          <p:cNvPr id="70" name="OTLSHAPE_SLT_1f3ecdb523214d1c858ab8fb12392a13_Title">
            <a:extLst>
              <a:ext uri="{FF2B5EF4-FFF2-40B4-BE49-F238E27FC236}">
                <a16:creationId xmlns:a16="http://schemas.microsoft.com/office/drawing/2014/main" id="{B6C4E4D7-5D80-4DDF-A7D5-7CD9142704E1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1674117" y="1849632"/>
            <a:ext cx="1316898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8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eliminary Model</a:t>
            </a:r>
          </a:p>
        </p:txBody>
      </p:sp>
      <p:sp>
        <p:nvSpPr>
          <p:cNvPr id="94" name="OTLSHAPE_SLT_8d38abf6434f49b59dc24ae1ee36935e_Title">
            <a:extLst>
              <a:ext uri="{FF2B5EF4-FFF2-40B4-BE49-F238E27FC236}">
                <a16:creationId xmlns:a16="http://schemas.microsoft.com/office/drawing/2014/main" id="{5E0F45DE-6C51-473A-A176-2DA5501D10AA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10246624" y="3841615"/>
            <a:ext cx="132111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24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nder Credit Approval</a:t>
            </a:r>
          </a:p>
        </p:txBody>
      </p:sp>
      <p:sp>
        <p:nvSpPr>
          <p:cNvPr id="102" name="OTLSHAPE_SLT_44de9765e7204557b88297f4709b8c30_Title">
            <a:extLst>
              <a:ext uri="{FF2B5EF4-FFF2-40B4-BE49-F238E27FC236}">
                <a16:creationId xmlns:a16="http://schemas.microsoft.com/office/drawing/2014/main" id="{06172D32-2BF6-4F71-9191-5BDAC00943FE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1591276" y="2784028"/>
            <a:ext cx="1208536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6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ket Soundings</a:t>
            </a:r>
          </a:p>
        </p:txBody>
      </p:sp>
      <p:sp>
        <p:nvSpPr>
          <p:cNvPr id="110" name="OTLSHAPE_SLT_40c7696c8b3a4b1db83d76730e5d92c2_Title">
            <a:extLst>
              <a:ext uri="{FF2B5EF4-FFF2-40B4-BE49-F238E27FC236}">
                <a16:creationId xmlns:a16="http://schemas.microsoft.com/office/drawing/2014/main" id="{3D8B4A21-2B1D-44C1-B19A-37D7637ADF7E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5689380" y="3538209"/>
            <a:ext cx="3304707" cy="22290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6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inding Term Sheet negotiated, Exclusivity Granted</a:t>
            </a:r>
          </a:p>
        </p:txBody>
      </p:sp>
      <p:sp>
        <p:nvSpPr>
          <p:cNvPr id="118" name="OTLSHAPE_SLT_c7770eb3e434445083ebf0cda53241c7_Title">
            <a:extLst>
              <a:ext uri="{FF2B5EF4-FFF2-40B4-BE49-F238E27FC236}">
                <a16:creationId xmlns:a16="http://schemas.microsoft.com/office/drawing/2014/main" id="{ACC55A22-7FE5-4E19-875D-834FE426C7BB}"/>
              </a:ext>
            </a:extLst>
          </p:cNvPr>
          <p:cNvSpPr txBox="1"/>
          <p:nvPr>
            <p:custDataLst>
              <p:tags r:id="rId75"/>
            </p:custDataLst>
          </p:nvPr>
        </p:nvSpPr>
        <p:spPr>
          <a:xfrm>
            <a:off x="2195027" y="2975519"/>
            <a:ext cx="1896401" cy="33384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4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point Mandated Lead Arranger (MLA)</a:t>
            </a:r>
          </a:p>
        </p:txBody>
      </p:sp>
      <p:sp>
        <p:nvSpPr>
          <p:cNvPr id="234" name="OTLSHAPE_SLT_71feb0897c2b47d28678366d0661913b_Title">
            <a:extLst>
              <a:ext uri="{FF2B5EF4-FFF2-40B4-BE49-F238E27FC236}">
                <a16:creationId xmlns:a16="http://schemas.microsoft.com/office/drawing/2014/main" id="{22759531-18F0-496E-9723-1F48B7EBF23E}"/>
              </a:ext>
            </a:extLst>
          </p:cNvPr>
          <p:cNvSpPr txBox="1"/>
          <p:nvPr>
            <p:custDataLst>
              <p:tags r:id="rId76"/>
            </p:custDataLst>
          </p:nvPr>
        </p:nvSpPr>
        <p:spPr>
          <a:xfrm>
            <a:off x="3520840" y="4186967"/>
            <a:ext cx="1300488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6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gree Scope, Run RFP, Appoint Advisors</a:t>
            </a:r>
          </a:p>
        </p:txBody>
      </p:sp>
      <p:sp>
        <p:nvSpPr>
          <p:cNvPr id="251" name="OTLSHAPE_SLM_38f7caf9b7404674b5040d0ab204f9f9_Title">
            <a:extLst>
              <a:ext uri="{FF2B5EF4-FFF2-40B4-BE49-F238E27FC236}">
                <a16:creationId xmlns:a16="http://schemas.microsoft.com/office/drawing/2014/main" id="{AA30C1BA-D2E2-4707-BC1C-760B9C41C6D9}"/>
              </a:ext>
            </a:extLst>
          </p:cNvPr>
          <p:cNvSpPr txBox="1"/>
          <p:nvPr>
            <p:custDataLst>
              <p:tags r:id="rId77"/>
            </p:custDataLst>
          </p:nvPr>
        </p:nvSpPr>
        <p:spPr>
          <a:xfrm>
            <a:off x="4131552" y="6156974"/>
            <a:ext cx="3677885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2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ponsor Capital Contributions and Additional Equity Fund Raise</a:t>
            </a:r>
          </a:p>
        </p:txBody>
      </p:sp>
      <p:sp>
        <p:nvSpPr>
          <p:cNvPr id="500" name="OTLSHAPE_SLT_79eebf0cc03e4ea08540b80882717e0a_Title">
            <a:extLst>
              <a:ext uri="{FF2B5EF4-FFF2-40B4-BE49-F238E27FC236}">
                <a16:creationId xmlns:a16="http://schemas.microsoft.com/office/drawing/2014/main" id="{BDA12ECE-FFFB-4F67-84C6-03165493E4FC}"/>
              </a:ext>
            </a:extLst>
          </p:cNvPr>
          <p:cNvSpPr txBox="1"/>
          <p:nvPr>
            <p:custDataLst>
              <p:tags r:id="rId78"/>
            </p:custDataLst>
          </p:nvPr>
        </p:nvSpPr>
        <p:spPr>
          <a:xfrm>
            <a:off x="9646641" y="2442372"/>
            <a:ext cx="1642967" cy="1636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4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odel Audited &amp; Locked</a:t>
            </a:r>
          </a:p>
        </p:txBody>
      </p:sp>
      <p:sp>
        <p:nvSpPr>
          <p:cNvPr id="7" name="OTLSHAPE_TB_00000000000000000000000000000000_TodayMarkerText" hidden="1">
            <a:extLst>
              <a:ext uri="{FF2B5EF4-FFF2-40B4-BE49-F238E27FC236}">
                <a16:creationId xmlns:a16="http://schemas.microsoft.com/office/drawing/2014/main" id="{AF19C43E-6468-432B-AE6E-D525D3062E85}"/>
              </a:ext>
            </a:extLst>
          </p:cNvPr>
          <p:cNvSpPr txBox="1"/>
          <p:nvPr>
            <p:custDataLst>
              <p:tags r:id="rId79"/>
            </p:custDataLst>
          </p:nvPr>
        </p:nvSpPr>
        <p:spPr>
          <a:xfrm>
            <a:off x="-168984" y="58866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day</a:t>
            </a:r>
          </a:p>
        </p:txBody>
      </p:sp>
      <p:sp>
        <p:nvSpPr>
          <p:cNvPr id="24" name="OTLSHAPE_SLT_1f3ecdb523214d1c858ab8fb12392a13_Duration" hidden="1">
            <a:extLst>
              <a:ext uri="{FF2B5EF4-FFF2-40B4-BE49-F238E27FC236}">
                <a16:creationId xmlns:a16="http://schemas.microsoft.com/office/drawing/2014/main" id="{ACC070BF-5CA7-4D58-8FF7-59F1B316FA32}"/>
              </a:ext>
            </a:extLst>
          </p:cNvPr>
          <p:cNvSpPr txBox="1"/>
          <p:nvPr>
            <p:custDataLst>
              <p:tags r:id="rId80"/>
            </p:custDataLst>
          </p:nvPr>
        </p:nvSpPr>
        <p:spPr>
          <a:xfrm>
            <a:off x="12700" y="-458748"/>
            <a:ext cx="4953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3.8 days</a:t>
            </a:r>
          </a:p>
        </p:txBody>
      </p:sp>
      <p:sp>
        <p:nvSpPr>
          <p:cNvPr id="25" name="OTLSHAPE_SLT_1f3ecdb523214d1c858ab8fb12392a13_JoinedDate" hidden="1">
            <a:extLst>
              <a:ext uri="{FF2B5EF4-FFF2-40B4-BE49-F238E27FC236}">
                <a16:creationId xmlns:a16="http://schemas.microsoft.com/office/drawing/2014/main" id="{9921DEC0-D835-4EB5-AF8F-92E87A0F6566}"/>
              </a:ext>
            </a:extLst>
          </p:cNvPr>
          <p:cNvSpPr txBox="1"/>
          <p:nvPr>
            <p:custDataLst>
              <p:tags r:id="rId81"/>
            </p:custDataLst>
          </p:nvPr>
        </p:nvSpPr>
        <p:spPr>
          <a:xfrm>
            <a:off x="12700" y="-618242"/>
            <a:ext cx="7366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an 2 - Mar 31</a:t>
            </a:r>
          </a:p>
        </p:txBody>
      </p:sp>
      <p:sp>
        <p:nvSpPr>
          <p:cNvPr id="26" name="OTLSHAPE_SLT_1f3ecdb523214d1c858ab8fb12392a13_StartDate" hidden="1">
            <a:extLst>
              <a:ext uri="{FF2B5EF4-FFF2-40B4-BE49-F238E27FC236}">
                <a16:creationId xmlns:a16="http://schemas.microsoft.com/office/drawing/2014/main" id="{73023A26-4CB2-42BC-B83C-504B7F6EE8F5}"/>
              </a:ext>
            </a:extLst>
          </p:cNvPr>
          <p:cNvSpPr txBox="1"/>
          <p:nvPr>
            <p:custDataLst>
              <p:tags r:id="rId82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7" name="OTLSHAPE_SLT_1f3ecdb523214d1c858ab8fb12392a13_EndDate" hidden="1">
            <a:extLst>
              <a:ext uri="{FF2B5EF4-FFF2-40B4-BE49-F238E27FC236}">
                <a16:creationId xmlns:a16="http://schemas.microsoft.com/office/drawing/2014/main" id="{FB19150D-70C6-4D6D-973E-BC7AA5E16DD1}"/>
              </a:ext>
            </a:extLst>
          </p:cNvPr>
          <p:cNvSpPr txBox="1"/>
          <p:nvPr>
            <p:custDataLst>
              <p:tags r:id="rId83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" name="OTLSHAPE_SLT_bf0bab4e98f54763a82568a5d219a5c7_Duration" hidden="1">
            <a:extLst>
              <a:ext uri="{FF2B5EF4-FFF2-40B4-BE49-F238E27FC236}">
                <a16:creationId xmlns:a16="http://schemas.microsoft.com/office/drawing/2014/main" id="{BD4E1201-A9DF-41A1-A894-9D86E33F095C}"/>
              </a:ext>
            </a:extLst>
          </p:cNvPr>
          <p:cNvSpPr txBox="1"/>
          <p:nvPr>
            <p:custDataLst>
              <p:tags r:id="rId84"/>
            </p:custDataLst>
          </p:nvPr>
        </p:nvSpPr>
        <p:spPr>
          <a:xfrm>
            <a:off x="12700" y="-464354"/>
            <a:ext cx="4953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4.8 days</a:t>
            </a:r>
          </a:p>
        </p:txBody>
      </p:sp>
      <p:sp>
        <p:nvSpPr>
          <p:cNvPr id="51" name="OTLSHAPE_SLT_bf0bab4e98f54763a82568a5d219a5c7_JoinedDate" hidden="1">
            <a:extLst>
              <a:ext uri="{FF2B5EF4-FFF2-40B4-BE49-F238E27FC236}">
                <a16:creationId xmlns:a16="http://schemas.microsoft.com/office/drawing/2014/main" id="{D8DA029E-F4F6-4109-A8C9-FCC6D12140DC}"/>
              </a:ext>
            </a:extLst>
          </p:cNvPr>
          <p:cNvSpPr txBox="1"/>
          <p:nvPr>
            <p:custDataLst>
              <p:tags r:id="rId85"/>
            </p:custDataLst>
          </p:nvPr>
        </p:nvSpPr>
        <p:spPr>
          <a:xfrm>
            <a:off x="12700" y="-695186"/>
            <a:ext cx="8001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an 28 - Mar 31</a:t>
            </a:r>
          </a:p>
        </p:txBody>
      </p:sp>
      <p:sp>
        <p:nvSpPr>
          <p:cNvPr id="52" name="OTLSHAPE_SLT_bf0bab4e98f54763a82568a5d219a5c7_StartDate" hidden="1">
            <a:extLst>
              <a:ext uri="{FF2B5EF4-FFF2-40B4-BE49-F238E27FC236}">
                <a16:creationId xmlns:a16="http://schemas.microsoft.com/office/drawing/2014/main" id="{719713EC-31A7-4292-ACB5-3F3C9AD7A2D0}"/>
              </a:ext>
            </a:extLst>
          </p:cNvPr>
          <p:cNvSpPr txBox="1"/>
          <p:nvPr>
            <p:custDataLst>
              <p:tags r:id="rId86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3" name="OTLSHAPE_SLT_bf0bab4e98f54763a82568a5d219a5c7_EndDate" hidden="1">
            <a:extLst>
              <a:ext uri="{FF2B5EF4-FFF2-40B4-BE49-F238E27FC236}">
                <a16:creationId xmlns:a16="http://schemas.microsoft.com/office/drawing/2014/main" id="{2FFB2407-F88F-49A1-BEFF-AF38E15C58CF}"/>
              </a:ext>
            </a:extLst>
          </p:cNvPr>
          <p:cNvSpPr txBox="1"/>
          <p:nvPr>
            <p:custDataLst>
              <p:tags r:id="rId87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6" name="OTLSHAPE_SLT_79eebf0cc03e4ea08540b80882717e0a_Duration" hidden="1">
            <a:extLst>
              <a:ext uri="{FF2B5EF4-FFF2-40B4-BE49-F238E27FC236}">
                <a16:creationId xmlns:a16="http://schemas.microsoft.com/office/drawing/2014/main" id="{4DA6C61F-256B-479C-98D9-96DDB66C8DD3}"/>
              </a:ext>
            </a:extLst>
          </p:cNvPr>
          <p:cNvSpPr txBox="1"/>
          <p:nvPr>
            <p:custDataLst>
              <p:tags r:id="rId88"/>
            </p:custDataLst>
          </p:nvPr>
        </p:nvSpPr>
        <p:spPr>
          <a:xfrm>
            <a:off x="12700" y="-464354"/>
            <a:ext cx="4953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6.4 days</a:t>
            </a:r>
          </a:p>
        </p:txBody>
      </p:sp>
      <p:sp>
        <p:nvSpPr>
          <p:cNvPr id="57" name="OTLSHAPE_SLT_79eebf0cc03e4ea08540b80882717e0a_TextPercentage" hidden="1">
            <a:extLst>
              <a:ext uri="{FF2B5EF4-FFF2-40B4-BE49-F238E27FC236}">
                <a16:creationId xmlns:a16="http://schemas.microsoft.com/office/drawing/2014/main" id="{A65D9748-775A-4330-9C43-B969C6825547}"/>
              </a:ext>
            </a:extLst>
          </p:cNvPr>
          <p:cNvSpPr txBox="1"/>
          <p:nvPr>
            <p:custDataLst>
              <p:tags r:id="rId89"/>
            </p:custDataLst>
          </p:nvPr>
        </p:nvSpPr>
        <p:spPr>
          <a:xfrm>
            <a:off x="12700" y="-79633"/>
            <a:ext cx="2286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5%</a:t>
            </a:r>
          </a:p>
        </p:txBody>
      </p:sp>
      <p:sp>
        <p:nvSpPr>
          <p:cNvPr id="59" name="OTLSHAPE_SLT_79eebf0cc03e4ea08540b80882717e0a_JoinedDate" hidden="1">
            <a:extLst>
              <a:ext uri="{FF2B5EF4-FFF2-40B4-BE49-F238E27FC236}">
                <a16:creationId xmlns:a16="http://schemas.microsoft.com/office/drawing/2014/main" id="{5DC41BA4-45BA-49E0-AE5F-ABA57BB77EEC}"/>
              </a:ext>
            </a:extLst>
          </p:cNvPr>
          <p:cNvSpPr txBox="1"/>
          <p:nvPr>
            <p:custDataLst>
              <p:tags r:id="rId90"/>
            </p:custDataLst>
          </p:nvPr>
        </p:nvSpPr>
        <p:spPr>
          <a:xfrm>
            <a:off x="12700" y="-695186"/>
            <a:ext cx="7366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ul 13 - Sep 30</a:t>
            </a:r>
          </a:p>
        </p:txBody>
      </p:sp>
      <p:sp>
        <p:nvSpPr>
          <p:cNvPr id="60" name="OTLSHAPE_SLT_79eebf0cc03e4ea08540b80882717e0a_StartDate" hidden="1">
            <a:extLst>
              <a:ext uri="{FF2B5EF4-FFF2-40B4-BE49-F238E27FC236}">
                <a16:creationId xmlns:a16="http://schemas.microsoft.com/office/drawing/2014/main" id="{07CC3E0D-9239-4B0E-82F2-757B1BEB6988}"/>
              </a:ext>
            </a:extLst>
          </p:cNvPr>
          <p:cNvSpPr txBox="1"/>
          <p:nvPr>
            <p:custDataLst>
              <p:tags r:id="rId91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1" name="OTLSHAPE_SLT_79eebf0cc03e4ea08540b80882717e0a_EndDate" hidden="1">
            <a:extLst>
              <a:ext uri="{FF2B5EF4-FFF2-40B4-BE49-F238E27FC236}">
                <a16:creationId xmlns:a16="http://schemas.microsoft.com/office/drawing/2014/main" id="{832FA22B-42EB-4BAA-92B1-5AB85A861D47}"/>
              </a:ext>
            </a:extLst>
          </p:cNvPr>
          <p:cNvSpPr txBox="1"/>
          <p:nvPr>
            <p:custDataLst>
              <p:tags r:id="rId92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48" name="OTLSHAPE_SLT_eeb83e503ffe4a72a203fede87f23081_Duration" hidden="1">
            <a:extLst>
              <a:ext uri="{FF2B5EF4-FFF2-40B4-BE49-F238E27FC236}">
                <a16:creationId xmlns:a16="http://schemas.microsoft.com/office/drawing/2014/main" id="{D0D00A62-E182-4BC1-8BED-544A15ACFBB2}"/>
              </a:ext>
            </a:extLst>
          </p:cNvPr>
          <p:cNvSpPr txBox="1"/>
          <p:nvPr>
            <p:custDataLst>
              <p:tags r:id="rId93"/>
            </p:custDataLst>
          </p:nvPr>
        </p:nvSpPr>
        <p:spPr>
          <a:xfrm>
            <a:off x="12700" y="-310466"/>
            <a:ext cx="3937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6 days</a:t>
            </a:r>
          </a:p>
        </p:txBody>
      </p:sp>
      <p:sp>
        <p:nvSpPr>
          <p:cNvPr id="449" name="OTLSHAPE_SLT_eeb83e503ffe4a72a203fede87f23081_TextPercentage" hidden="1">
            <a:extLst>
              <a:ext uri="{FF2B5EF4-FFF2-40B4-BE49-F238E27FC236}">
                <a16:creationId xmlns:a16="http://schemas.microsoft.com/office/drawing/2014/main" id="{FB63A40E-D800-4199-8BFF-BA6CAE6F4BD7}"/>
              </a:ext>
            </a:extLst>
          </p:cNvPr>
          <p:cNvSpPr txBox="1"/>
          <p:nvPr>
            <p:custDataLst>
              <p:tags r:id="rId94"/>
            </p:custDataLst>
          </p:nvPr>
        </p:nvSpPr>
        <p:spPr>
          <a:xfrm>
            <a:off x="12700" y="-79633"/>
            <a:ext cx="2286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5%</a:t>
            </a:r>
          </a:p>
        </p:txBody>
      </p:sp>
      <p:sp>
        <p:nvSpPr>
          <p:cNvPr id="450" name="OTLSHAPE_SLT_eeb83e503ffe4a72a203fede87f23081_JoinedDate" hidden="1">
            <a:extLst>
              <a:ext uri="{FF2B5EF4-FFF2-40B4-BE49-F238E27FC236}">
                <a16:creationId xmlns:a16="http://schemas.microsoft.com/office/drawing/2014/main" id="{1A173880-F728-4D8B-B4C3-F7CEB8178918}"/>
              </a:ext>
            </a:extLst>
          </p:cNvPr>
          <p:cNvSpPr txBox="1"/>
          <p:nvPr>
            <p:custDataLst>
              <p:tags r:id="rId95"/>
            </p:custDataLst>
          </p:nvPr>
        </p:nvSpPr>
        <p:spPr>
          <a:xfrm>
            <a:off x="12700" y="-618242"/>
            <a:ext cx="6604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un 4 - Jul 11</a:t>
            </a:r>
          </a:p>
        </p:txBody>
      </p:sp>
      <p:sp>
        <p:nvSpPr>
          <p:cNvPr id="451" name="OTLSHAPE_SLT_eeb83e503ffe4a72a203fede87f23081_StartDate" hidden="1">
            <a:extLst>
              <a:ext uri="{FF2B5EF4-FFF2-40B4-BE49-F238E27FC236}">
                <a16:creationId xmlns:a16="http://schemas.microsoft.com/office/drawing/2014/main" id="{190725D1-2595-43A5-B383-6CFC42EE21CB}"/>
              </a:ext>
            </a:extLst>
          </p:cNvPr>
          <p:cNvSpPr txBox="1"/>
          <p:nvPr>
            <p:custDataLst>
              <p:tags r:id="rId96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52" name="OTLSHAPE_SLT_eeb83e503ffe4a72a203fede87f23081_EndDate" hidden="1">
            <a:extLst>
              <a:ext uri="{FF2B5EF4-FFF2-40B4-BE49-F238E27FC236}">
                <a16:creationId xmlns:a16="http://schemas.microsoft.com/office/drawing/2014/main" id="{9D3A2E1F-FA5E-4F3F-A65C-7CBC59C42898}"/>
              </a:ext>
            </a:extLst>
          </p:cNvPr>
          <p:cNvSpPr txBox="1"/>
          <p:nvPr>
            <p:custDataLst>
              <p:tags r:id="rId97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68" name="OTLSHAPE_SLT_118aa262c9b048e19e0b2ecc51e36c38_Duration" hidden="1">
            <a:extLst>
              <a:ext uri="{FF2B5EF4-FFF2-40B4-BE49-F238E27FC236}">
                <a16:creationId xmlns:a16="http://schemas.microsoft.com/office/drawing/2014/main" id="{18361C42-5769-47C7-B34A-D4D15F7A601C}"/>
              </a:ext>
            </a:extLst>
          </p:cNvPr>
          <p:cNvSpPr txBox="1"/>
          <p:nvPr>
            <p:custDataLst>
              <p:tags r:id="rId98"/>
            </p:custDataLst>
          </p:nvPr>
        </p:nvSpPr>
        <p:spPr>
          <a:xfrm>
            <a:off x="12700" y="-464354"/>
            <a:ext cx="4953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3.5 days</a:t>
            </a:r>
          </a:p>
        </p:txBody>
      </p:sp>
      <p:sp>
        <p:nvSpPr>
          <p:cNvPr id="469" name="OTLSHAPE_SLT_118aa262c9b048e19e0b2ecc51e36c38_TextPercentage" hidden="1">
            <a:extLst>
              <a:ext uri="{FF2B5EF4-FFF2-40B4-BE49-F238E27FC236}">
                <a16:creationId xmlns:a16="http://schemas.microsoft.com/office/drawing/2014/main" id="{A29CBE26-C1EB-47D0-A5A0-279096B1E328}"/>
              </a:ext>
            </a:extLst>
          </p:cNvPr>
          <p:cNvSpPr txBox="1"/>
          <p:nvPr>
            <p:custDataLst>
              <p:tags r:id="rId99"/>
            </p:custDataLst>
          </p:nvPr>
        </p:nvSpPr>
        <p:spPr>
          <a:xfrm>
            <a:off x="12700" y="-79633"/>
            <a:ext cx="2286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7F6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5%</a:t>
            </a:r>
          </a:p>
        </p:txBody>
      </p:sp>
      <p:sp>
        <p:nvSpPr>
          <p:cNvPr id="470" name="OTLSHAPE_SLT_118aa262c9b048e19e0b2ecc51e36c38_JoinedDate" hidden="1">
            <a:extLst>
              <a:ext uri="{FF2B5EF4-FFF2-40B4-BE49-F238E27FC236}">
                <a16:creationId xmlns:a16="http://schemas.microsoft.com/office/drawing/2014/main" id="{36706D15-A082-4D96-B3AA-2D306C2B5879}"/>
              </a:ext>
            </a:extLst>
          </p:cNvPr>
          <p:cNvSpPr txBox="1"/>
          <p:nvPr>
            <p:custDataLst>
              <p:tags r:id="rId100"/>
            </p:custDataLst>
          </p:nvPr>
        </p:nvSpPr>
        <p:spPr>
          <a:xfrm>
            <a:off x="12700" y="-541298"/>
            <a:ext cx="6477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r 2 - Jun 2</a:t>
            </a:r>
          </a:p>
        </p:txBody>
      </p:sp>
      <p:sp>
        <p:nvSpPr>
          <p:cNvPr id="471" name="OTLSHAPE_SLT_118aa262c9b048e19e0b2ecc51e36c38_StartDate" hidden="1">
            <a:extLst>
              <a:ext uri="{FF2B5EF4-FFF2-40B4-BE49-F238E27FC236}">
                <a16:creationId xmlns:a16="http://schemas.microsoft.com/office/drawing/2014/main" id="{F43A4E14-0A97-4829-A763-2CC9F195400C}"/>
              </a:ext>
            </a:extLst>
          </p:cNvPr>
          <p:cNvSpPr txBox="1"/>
          <p:nvPr>
            <p:custDataLst>
              <p:tags r:id="rId101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2" name="OTLSHAPE_SLT_118aa262c9b048e19e0b2ecc51e36c38_EndDate" hidden="1">
            <a:extLst>
              <a:ext uri="{FF2B5EF4-FFF2-40B4-BE49-F238E27FC236}">
                <a16:creationId xmlns:a16="http://schemas.microsoft.com/office/drawing/2014/main" id="{04129555-8FAC-496A-A4B6-513A047ED240}"/>
              </a:ext>
            </a:extLst>
          </p:cNvPr>
          <p:cNvSpPr txBox="1"/>
          <p:nvPr>
            <p:custDataLst>
              <p:tags r:id="rId102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4" name="OTLSHAPE_SLT_840d1906cb104b01bde15bb78e8e323b_Duration" hidden="1">
            <a:extLst>
              <a:ext uri="{FF2B5EF4-FFF2-40B4-BE49-F238E27FC236}">
                <a16:creationId xmlns:a16="http://schemas.microsoft.com/office/drawing/2014/main" id="{EDCA1B4C-A549-4387-8877-D152D8D23750}"/>
              </a:ext>
            </a:extLst>
          </p:cNvPr>
          <p:cNvSpPr txBox="1"/>
          <p:nvPr>
            <p:custDataLst>
              <p:tags r:id="rId103"/>
            </p:custDataLst>
          </p:nvPr>
        </p:nvSpPr>
        <p:spPr>
          <a:xfrm>
            <a:off x="12700" y="-464354"/>
            <a:ext cx="4953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0.4 days</a:t>
            </a:r>
          </a:p>
        </p:txBody>
      </p:sp>
      <p:sp>
        <p:nvSpPr>
          <p:cNvPr id="475" name="OTLSHAPE_SLT_840d1906cb104b01bde15bb78e8e323b_JoinedDate" hidden="1">
            <a:extLst>
              <a:ext uri="{FF2B5EF4-FFF2-40B4-BE49-F238E27FC236}">
                <a16:creationId xmlns:a16="http://schemas.microsoft.com/office/drawing/2014/main" id="{6021DB3A-84DD-43B5-8338-B2C3AFD3415C}"/>
              </a:ext>
            </a:extLst>
          </p:cNvPr>
          <p:cNvSpPr txBox="1"/>
          <p:nvPr>
            <p:custDataLst>
              <p:tags r:id="rId104"/>
            </p:custDataLst>
          </p:nvPr>
        </p:nvSpPr>
        <p:spPr>
          <a:xfrm>
            <a:off x="12700" y="-618242"/>
            <a:ext cx="7239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eb 23 - Apr 7</a:t>
            </a:r>
          </a:p>
        </p:txBody>
      </p:sp>
      <p:sp>
        <p:nvSpPr>
          <p:cNvPr id="476" name="OTLSHAPE_SLT_840d1906cb104b01bde15bb78e8e323b_StartDate" hidden="1">
            <a:extLst>
              <a:ext uri="{FF2B5EF4-FFF2-40B4-BE49-F238E27FC236}">
                <a16:creationId xmlns:a16="http://schemas.microsoft.com/office/drawing/2014/main" id="{22F72FD9-55CD-4E6C-A71E-6CDF54AF7E5D}"/>
              </a:ext>
            </a:extLst>
          </p:cNvPr>
          <p:cNvSpPr txBox="1"/>
          <p:nvPr>
            <p:custDataLst>
              <p:tags r:id="rId105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7" name="OTLSHAPE_SLT_840d1906cb104b01bde15bb78e8e323b_EndDate" hidden="1">
            <a:extLst>
              <a:ext uri="{FF2B5EF4-FFF2-40B4-BE49-F238E27FC236}">
                <a16:creationId xmlns:a16="http://schemas.microsoft.com/office/drawing/2014/main" id="{C87629C3-F980-4D3A-8D7A-C9F76815990A}"/>
              </a:ext>
            </a:extLst>
          </p:cNvPr>
          <p:cNvSpPr txBox="1"/>
          <p:nvPr>
            <p:custDataLst>
              <p:tags r:id="rId106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2" name="OTLSHAPE_SLT_44de9765e7204557b88297f4709b8c30_Duration" hidden="1">
            <a:extLst>
              <a:ext uri="{FF2B5EF4-FFF2-40B4-BE49-F238E27FC236}">
                <a16:creationId xmlns:a16="http://schemas.microsoft.com/office/drawing/2014/main" id="{2CD7FB44-0AF5-4A1D-A43E-184363E61863}"/>
              </a:ext>
            </a:extLst>
          </p:cNvPr>
          <p:cNvSpPr txBox="1"/>
          <p:nvPr>
            <p:custDataLst>
              <p:tags r:id="rId107"/>
            </p:custDataLst>
          </p:nvPr>
        </p:nvSpPr>
        <p:spPr>
          <a:xfrm>
            <a:off x="12700" y="-310466"/>
            <a:ext cx="3937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6 days</a:t>
            </a:r>
          </a:p>
        </p:txBody>
      </p:sp>
      <p:sp>
        <p:nvSpPr>
          <p:cNvPr id="483" name="OTLSHAPE_SLT_44de9765e7204557b88297f4709b8c30_TextPercentage" hidden="1">
            <a:extLst>
              <a:ext uri="{FF2B5EF4-FFF2-40B4-BE49-F238E27FC236}">
                <a16:creationId xmlns:a16="http://schemas.microsoft.com/office/drawing/2014/main" id="{414AF0F2-42BE-452A-92DC-C2B30441776F}"/>
              </a:ext>
            </a:extLst>
          </p:cNvPr>
          <p:cNvSpPr txBox="1"/>
          <p:nvPr>
            <p:custDataLst>
              <p:tags r:id="rId108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4" name="OTLSHAPE_SLT_44de9765e7204557b88297f4709b8c30_JoinedDate" hidden="1">
            <a:extLst>
              <a:ext uri="{FF2B5EF4-FFF2-40B4-BE49-F238E27FC236}">
                <a16:creationId xmlns:a16="http://schemas.microsoft.com/office/drawing/2014/main" id="{D5BAFEDA-75E2-49F5-A5C7-83A54E6B9F52}"/>
              </a:ext>
            </a:extLst>
          </p:cNvPr>
          <p:cNvSpPr txBox="1"/>
          <p:nvPr>
            <p:custDataLst>
              <p:tags r:id="rId109"/>
            </p:custDataLst>
          </p:nvPr>
        </p:nvSpPr>
        <p:spPr>
          <a:xfrm>
            <a:off x="12700" y="-541298"/>
            <a:ext cx="6604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eb 2 - Apr 7</a:t>
            </a:r>
          </a:p>
        </p:txBody>
      </p:sp>
      <p:sp>
        <p:nvSpPr>
          <p:cNvPr id="485" name="OTLSHAPE_SLT_44de9765e7204557b88297f4709b8c30_StartDate" hidden="1">
            <a:extLst>
              <a:ext uri="{FF2B5EF4-FFF2-40B4-BE49-F238E27FC236}">
                <a16:creationId xmlns:a16="http://schemas.microsoft.com/office/drawing/2014/main" id="{F0AA0FC3-644B-455E-BECE-B5607249DAD7}"/>
              </a:ext>
            </a:extLst>
          </p:cNvPr>
          <p:cNvSpPr txBox="1"/>
          <p:nvPr>
            <p:custDataLst>
              <p:tags r:id="rId110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6" name="OTLSHAPE_SLT_44de9765e7204557b88297f4709b8c30_EndDate" hidden="1">
            <a:extLst>
              <a:ext uri="{FF2B5EF4-FFF2-40B4-BE49-F238E27FC236}">
                <a16:creationId xmlns:a16="http://schemas.microsoft.com/office/drawing/2014/main" id="{FC5FBB1E-42DA-4834-A480-7FDEB4DFD0DA}"/>
              </a:ext>
            </a:extLst>
          </p:cNvPr>
          <p:cNvSpPr txBox="1"/>
          <p:nvPr>
            <p:custDataLst>
              <p:tags r:id="rId111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8" name="OTLSHAPE_SLT_8d38abf6434f49b59dc24ae1ee36935e_Duration" hidden="1">
            <a:extLst>
              <a:ext uri="{FF2B5EF4-FFF2-40B4-BE49-F238E27FC236}">
                <a16:creationId xmlns:a16="http://schemas.microsoft.com/office/drawing/2014/main" id="{C4ABBE78-233C-4ED6-A298-B4920AF8B03A}"/>
              </a:ext>
            </a:extLst>
          </p:cNvPr>
          <p:cNvSpPr txBox="1"/>
          <p:nvPr>
            <p:custDataLst>
              <p:tags r:id="rId112"/>
            </p:custDataLst>
          </p:nvPr>
        </p:nvSpPr>
        <p:spPr>
          <a:xfrm>
            <a:off x="12700" y="-464354"/>
            <a:ext cx="4953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8.3 days</a:t>
            </a:r>
          </a:p>
        </p:txBody>
      </p:sp>
      <p:sp>
        <p:nvSpPr>
          <p:cNvPr id="489" name="OTLSHAPE_SLT_8d38abf6434f49b59dc24ae1ee36935e_TextPercentage" hidden="1">
            <a:extLst>
              <a:ext uri="{FF2B5EF4-FFF2-40B4-BE49-F238E27FC236}">
                <a16:creationId xmlns:a16="http://schemas.microsoft.com/office/drawing/2014/main" id="{BB456100-6BA6-45B5-904C-ABBAAC47FA68}"/>
              </a:ext>
            </a:extLst>
          </p:cNvPr>
          <p:cNvSpPr txBox="1"/>
          <p:nvPr>
            <p:custDataLst>
              <p:tags r:id="rId113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0" name="OTLSHAPE_SLT_8d38abf6434f49b59dc24ae1ee36935e_JoinedDate" hidden="1">
            <a:extLst>
              <a:ext uri="{FF2B5EF4-FFF2-40B4-BE49-F238E27FC236}">
                <a16:creationId xmlns:a16="http://schemas.microsoft.com/office/drawing/2014/main" id="{353917DC-A285-4A7B-9AE8-FC834287A82B}"/>
              </a:ext>
            </a:extLst>
          </p:cNvPr>
          <p:cNvSpPr txBox="1"/>
          <p:nvPr>
            <p:custDataLst>
              <p:tags r:id="rId114"/>
            </p:custDataLst>
          </p:nvPr>
        </p:nvSpPr>
        <p:spPr>
          <a:xfrm>
            <a:off x="12700" y="-618242"/>
            <a:ext cx="7239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r 2 - Apr 28</a:t>
            </a:r>
          </a:p>
        </p:txBody>
      </p:sp>
      <p:sp>
        <p:nvSpPr>
          <p:cNvPr id="491" name="OTLSHAPE_SLT_8d38abf6434f49b59dc24ae1ee36935e_StartDate" hidden="1">
            <a:extLst>
              <a:ext uri="{FF2B5EF4-FFF2-40B4-BE49-F238E27FC236}">
                <a16:creationId xmlns:a16="http://schemas.microsoft.com/office/drawing/2014/main" id="{D4567D67-8E7B-4582-AE61-833717258D64}"/>
              </a:ext>
            </a:extLst>
          </p:cNvPr>
          <p:cNvSpPr txBox="1"/>
          <p:nvPr>
            <p:custDataLst>
              <p:tags r:id="rId115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2" name="OTLSHAPE_SLT_8d38abf6434f49b59dc24ae1ee36935e_EndDate" hidden="1">
            <a:extLst>
              <a:ext uri="{FF2B5EF4-FFF2-40B4-BE49-F238E27FC236}">
                <a16:creationId xmlns:a16="http://schemas.microsoft.com/office/drawing/2014/main" id="{10C59962-0FFD-4A65-B66D-9693F95D43FF}"/>
              </a:ext>
            </a:extLst>
          </p:cNvPr>
          <p:cNvSpPr txBox="1"/>
          <p:nvPr>
            <p:custDataLst>
              <p:tags r:id="rId116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8" name="OTLSHAPE_SLT_c7770eb3e434445083ebf0cda53241c7_Duration" hidden="1">
            <a:extLst>
              <a:ext uri="{FF2B5EF4-FFF2-40B4-BE49-F238E27FC236}">
                <a16:creationId xmlns:a16="http://schemas.microsoft.com/office/drawing/2014/main" id="{7FB1B8EF-58D5-4317-8CA5-B2D86123DCD9}"/>
              </a:ext>
            </a:extLst>
          </p:cNvPr>
          <p:cNvSpPr txBox="1"/>
          <p:nvPr>
            <p:custDataLst>
              <p:tags r:id="rId117"/>
            </p:custDataLst>
          </p:nvPr>
        </p:nvSpPr>
        <p:spPr>
          <a:xfrm>
            <a:off x="12700" y="-310466"/>
            <a:ext cx="3937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0 days</a:t>
            </a:r>
          </a:p>
        </p:txBody>
      </p:sp>
      <p:sp>
        <p:nvSpPr>
          <p:cNvPr id="499" name="OTLSHAPE_SLT_c7770eb3e434445083ebf0cda53241c7_TextPercentage" hidden="1">
            <a:extLst>
              <a:ext uri="{FF2B5EF4-FFF2-40B4-BE49-F238E27FC236}">
                <a16:creationId xmlns:a16="http://schemas.microsoft.com/office/drawing/2014/main" id="{56F1BCA6-3F1D-47CA-B73B-DABA327B690E}"/>
              </a:ext>
            </a:extLst>
          </p:cNvPr>
          <p:cNvSpPr txBox="1"/>
          <p:nvPr>
            <p:custDataLst>
              <p:tags r:id="rId118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01" name="OTLSHAPE_SLT_c7770eb3e434445083ebf0cda53241c7_JoinedDate" hidden="1">
            <a:extLst>
              <a:ext uri="{FF2B5EF4-FFF2-40B4-BE49-F238E27FC236}">
                <a16:creationId xmlns:a16="http://schemas.microsoft.com/office/drawing/2014/main" id="{285AEBB8-544B-4A71-9215-8F2C1178B253}"/>
              </a:ext>
            </a:extLst>
          </p:cNvPr>
          <p:cNvSpPr txBox="1"/>
          <p:nvPr>
            <p:custDataLst>
              <p:tags r:id="rId119"/>
            </p:custDataLst>
          </p:nvPr>
        </p:nvSpPr>
        <p:spPr>
          <a:xfrm>
            <a:off x="12700" y="-618242"/>
            <a:ext cx="7112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r 2 - Jun 10</a:t>
            </a:r>
          </a:p>
        </p:txBody>
      </p:sp>
      <p:sp>
        <p:nvSpPr>
          <p:cNvPr id="502" name="OTLSHAPE_SLT_c7770eb3e434445083ebf0cda53241c7_StartDate" hidden="1">
            <a:extLst>
              <a:ext uri="{FF2B5EF4-FFF2-40B4-BE49-F238E27FC236}">
                <a16:creationId xmlns:a16="http://schemas.microsoft.com/office/drawing/2014/main" id="{1BE95281-5889-4664-B64F-C4D523786126}"/>
              </a:ext>
            </a:extLst>
          </p:cNvPr>
          <p:cNvSpPr txBox="1"/>
          <p:nvPr>
            <p:custDataLst>
              <p:tags r:id="rId120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03" name="OTLSHAPE_SLT_c7770eb3e434445083ebf0cda53241c7_EndDate" hidden="1">
            <a:extLst>
              <a:ext uri="{FF2B5EF4-FFF2-40B4-BE49-F238E27FC236}">
                <a16:creationId xmlns:a16="http://schemas.microsoft.com/office/drawing/2014/main" id="{9622DF9A-8F3F-44CF-8B33-29E65F36FE55}"/>
              </a:ext>
            </a:extLst>
          </p:cNvPr>
          <p:cNvSpPr txBox="1"/>
          <p:nvPr>
            <p:custDataLst>
              <p:tags r:id="rId121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05" name="OTLSHAPE_SLT_40c7696c8b3a4b1db83d76730e5d92c2_Duration" hidden="1">
            <a:extLst>
              <a:ext uri="{FF2B5EF4-FFF2-40B4-BE49-F238E27FC236}">
                <a16:creationId xmlns:a16="http://schemas.microsoft.com/office/drawing/2014/main" id="{C64AB74E-FF2D-4675-A60D-AEE8BF13FFA5}"/>
              </a:ext>
            </a:extLst>
          </p:cNvPr>
          <p:cNvSpPr txBox="1"/>
          <p:nvPr>
            <p:custDataLst>
              <p:tags r:id="rId122"/>
            </p:custDataLst>
          </p:nvPr>
        </p:nvSpPr>
        <p:spPr>
          <a:xfrm>
            <a:off x="12700" y="-458748"/>
            <a:ext cx="4953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4.5 days</a:t>
            </a:r>
          </a:p>
        </p:txBody>
      </p:sp>
      <p:sp>
        <p:nvSpPr>
          <p:cNvPr id="506" name="OTLSHAPE_SLT_40c7696c8b3a4b1db83d76730e5d92c2_TextPercentage" hidden="1">
            <a:extLst>
              <a:ext uri="{FF2B5EF4-FFF2-40B4-BE49-F238E27FC236}">
                <a16:creationId xmlns:a16="http://schemas.microsoft.com/office/drawing/2014/main" id="{19765F50-7A2E-4D39-8775-800BA97347B5}"/>
              </a:ext>
            </a:extLst>
          </p:cNvPr>
          <p:cNvSpPr txBox="1"/>
          <p:nvPr>
            <p:custDataLst>
              <p:tags r:id="rId123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07" name="OTLSHAPE_SLT_40c7696c8b3a4b1db83d76730e5d92c2_JoinedDate" hidden="1">
            <a:extLst>
              <a:ext uri="{FF2B5EF4-FFF2-40B4-BE49-F238E27FC236}">
                <a16:creationId xmlns:a16="http://schemas.microsoft.com/office/drawing/2014/main" id="{1DACE5CE-E588-4AF2-9892-AA1D2A953B18}"/>
              </a:ext>
            </a:extLst>
          </p:cNvPr>
          <p:cNvSpPr txBox="1"/>
          <p:nvPr>
            <p:custDataLst>
              <p:tags r:id="rId124"/>
            </p:custDataLst>
          </p:nvPr>
        </p:nvSpPr>
        <p:spPr>
          <a:xfrm>
            <a:off x="12700" y="-541298"/>
            <a:ext cx="6604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un 5 - Aug 5</a:t>
            </a:r>
          </a:p>
        </p:txBody>
      </p:sp>
      <p:sp>
        <p:nvSpPr>
          <p:cNvPr id="508" name="OTLSHAPE_SLT_40c7696c8b3a4b1db83d76730e5d92c2_StartDate" hidden="1">
            <a:extLst>
              <a:ext uri="{FF2B5EF4-FFF2-40B4-BE49-F238E27FC236}">
                <a16:creationId xmlns:a16="http://schemas.microsoft.com/office/drawing/2014/main" id="{9519BA49-4C41-49CF-AC4D-AEA21279B694}"/>
              </a:ext>
            </a:extLst>
          </p:cNvPr>
          <p:cNvSpPr txBox="1"/>
          <p:nvPr>
            <p:custDataLst>
              <p:tags r:id="rId125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09" name="OTLSHAPE_SLT_40c7696c8b3a4b1db83d76730e5d92c2_EndDate" hidden="1">
            <a:extLst>
              <a:ext uri="{FF2B5EF4-FFF2-40B4-BE49-F238E27FC236}">
                <a16:creationId xmlns:a16="http://schemas.microsoft.com/office/drawing/2014/main" id="{5E8310F8-9946-453A-994C-C6C1CF8BB472}"/>
              </a:ext>
            </a:extLst>
          </p:cNvPr>
          <p:cNvSpPr txBox="1"/>
          <p:nvPr>
            <p:custDataLst>
              <p:tags r:id="rId126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1" name="OTLSHAPE_SLT_f1b03b9fadb246d6b74eef66d2c662d1_Duration" hidden="1">
            <a:extLst>
              <a:ext uri="{FF2B5EF4-FFF2-40B4-BE49-F238E27FC236}">
                <a16:creationId xmlns:a16="http://schemas.microsoft.com/office/drawing/2014/main" id="{BF6412E6-678F-48BB-A979-CFF0C896E953}"/>
              </a:ext>
            </a:extLst>
          </p:cNvPr>
          <p:cNvSpPr txBox="1"/>
          <p:nvPr>
            <p:custDataLst>
              <p:tags r:id="rId127"/>
            </p:custDataLst>
          </p:nvPr>
        </p:nvSpPr>
        <p:spPr>
          <a:xfrm>
            <a:off x="12700" y="-310466"/>
            <a:ext cx="3937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0 days</a:t>
            </a:r>
          </a:p>
        </p:txBody>
      </p:sp>
      <p:sp>
        <p:nvSpPr>
          <p:cNvPr id="72" name="OTLSHAPE_SLT_f1b03b9fadb246d6b74eef66d2c662d1_TextPercentage" hidden="1">
            <a:extLst>
              <a:ext uri="{FF2B5EF4-FFF2-40B4-BE49-F238E27FC236}">
                <a16:creationId xmlns:a16="http://schemas.microsoft.com/office/drawing/2014/main" id="{7B041105-3536-440A-95F8-4D54AFA980C9}"/>
              </a:ext>
            </a:extLst>
          </p:cNvPr>
          <p:cNvSpPr txBox="1"/>
          <p:nvPr>
            <p:custDataLst>
              <p:tags r:id="rId128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3" name="OTLSHAPE_SLT_f1b03b9fadb246d6b74eef66d2c662d1_JoinedDate" hidden="1">
            <a:extLst>
              <a:ext uri="{FF2B5EF4-FFF2-40B4-BE49-F238E27FC236}">
                <a16:creationId xmlns:a16="http://schemas.microsoft.com/office/drawing/2014/main" id="{F70E1443-2E55-4AEB-87B4-0A1D5272E270}"/>
              </a:ext>
            </a:extLst>
          </p:cNvPr>
          <p:cNvSpPr txBox="1"/>
          <p:nvPr>
            <p:custDataLst>
              <p:tags r:id="rId129"/>
            </p:custDataLst>
          </p:nvPr>
        </p:nvSpPr>
        <p:spPr>
          <a:xfrm>
            <a:off x="12700" y="-618242"/>
            <a:ext cx="6731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ul 7 - Sep 14</a:t>
            </a:r>
          </a:p>
        </p:txBody>
      </p:sp>
      <p:sp>
        <p:nvSpPr>
          <p:cNvPr id="75" name="OTLSHAPE_SLT_f1b03b9fadb246d6b74eef66d2c662d1_StartDate" hidden="1">
            <a:extLst>
              <a:ext uri="{FF2B5EF4-FFF2-40B4-BE49-F238E27FC236}">
                <a16:creationId xmlns:a16="http://schemas.microsoft.com/office/drawing/2014/main" id="{186B3F69-9195-48D6-B8DC-8F913BB89B00}"/>
              </a:ext>
            </a:extLst>
          </p:cNvPr>
          <p:cNvSpPr txBox="1"/>
          <p:nvPr>
            <p:custDataLst>
              <p:tags r:id="rId130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6" name="OTLSHAPE_SLT_f1b03b9fadb246d6b74eef66d2c662d1_EndDate" hidden="1">
            <a:extLst>
              <a:ext uri="{FF2B5EF4-FFF2-40B4-BE49-F238E27FC236}">
                <a16:creationId xmlns:a16="http://schemas.microsoft.com/office/drawing/2014/main" id="{CDE46C90-218F-4B56-A833-BD724951E529}"/>
              </a:ext>
            </a:extLst>
          </p:cNvPr>
          <p:cNvSpPr txBox="1"/>
          <p:nvPr>
            <p:custDataLst>
              <p:tags r:id="rId131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9" name="OTLSHAPE_SLT_c60910096d5a4b6f9de76b63feadcf94_Duration" hidden="1">
            <a:extLst>
              <a:ext uri="{FF2B5EF4-FFF2-40B4-BE49-F238E27FC236}">
                <a16:creationId xmlns:a16="http://schemas.microsoft.com/office/drawing/2014/main" id="{77C6B0C1-67CD-4FDE-AE10-0E5FAFADAFBB}"/>
              </a:ext>
            </a:extLst>
          </p:cNvPr>
          <p:cNvSpPr txBox="1"/>
          <p:nvPr>
            <p:custDataLst>
              <p:tags r:id="rId132"/>
            </p:custDataLst>
          </p:nvPr>
        </p:nvSpPr>
        <p:spPr>
          <a:xfrm>
            <a:off x="12700" y="-464354"/>
            <a:ext cx="4953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2.2 days</a:t>
            </a:r>
          </a:p>
        </p:txBody>
      </p:sp>
      <p:sp>
        <p:nvSpPr>
          <p:cNvPr id="80" name="OTLSHAPE_SLT_c60910096d5a4b6f9de76b63feadcf94_TextPercentage" hidden="1">
            <a:extLst>
              <a:ext uri="{FF2B5EF4-FFF2-40B4-BE49-F238E27FC236}">
                <a16:creationId xmlns:a16="http://schemas.microsoft.com/office/drawing/2014/main" id="{6F89FDE1-3959-4B72-81B7-D9A029559D70}"/>
              </a:ext>
            </a:extLst>
          </p:cNvPr>
          <p:cNvSpPr txBox="1"/>
          <p:nvPr>
            <p:custDataLst>
              <p:tags r:id="rId133"/>
            </p:custDataLst>
          </p:nvPr>
        </p:nvSpPr>
        <p:spPr>
          <a:xfrm>
            <a:off x="12700" y="-79633"/>
            <a:ext cx="2286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5%</a:t>
            </a:r>
          </a:p>
        </p:txBody>
      </p:sp>
      <p:sp>
        <p:nvSpPr>
          <p:cNvPr id="81" name="OTLSHAPE_SLT_c60910096d5a4b6f9de76b63feadcf94_JoinedDate" hidden="1">
            <a:extLst>
              <a:ext uri="{FF2B5EF4-FFF2-40B4-BE49-F238E27FC236}">
                <a16:creationId xmlns:a16="http://schemas.microsoft.com/office/drawing/2014/main" id="{3CF667E4-D88E-4505-9BF3-3A249BB2B754}"/>
              </a:ext>
            </a:extLst>
          </p:cNvPr>
          <p:cNvSpPr txBox="1"/>
          <p:nvPr>
            <p:custDataLst>
              <p:tags r:id="rId134"/>
            </p:custDataLst>
          </p:nvPr>
        </p:nvSpPr>
        <p:spPr>
          <a:xfrm>
            <a:off x="12700" y="-618242"/>
            <a:ext cx="7366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ug 3 - Oct 28</a:t>
            </a:r>
          </a:p>
        </p:txBody>
      </p:sp>
      <p:sp>
        <p:nvSpPr>
          <p:cNvPr id="82" name="OTLSHAPE_SLT_c60910096d5a4b6f9de76b63feadcf94_StartDate" hidden="1">
            <a:extLst>
              <a:ext uri="{FF2B5EF4-FFF2-40B4-BE49-F238E27FC236}">
                <a16:creationId xmlns:a16="http://schemas.microsoft.com/office/drawing/2014/main" id="{93A82419-B648-41D2-888A-834BD493C3A9}"/>
              </a:ext>
            </a:extLst>
          </p:cNvPr>
          <p:cNvSpPr txBox="1"/>
          <p:nvPr>
            <p:custDataLst>
              <p:tags r:id="rId135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3" name="OTLSHAPE_SLT_c60910096d5a4b6f9de76b63feadcf94_EndDate" hidden="1">
            <a:extLst>
              <a:ext uri="{FF2B5EF4-FFF2-40B4-BE49-F238E27FC236}">
                <a16:creationId xmlns:a16="http://schemas.microsoft.com/office/drawing/2014/main" id="{C50D8960-0C45-4BC7-B91F-D5C1DA2D221F}"/>
              </a:ext>
            </a:extLst>
          </p:cNvPr>
          <p:cNvSpPr txBox="1"/>
          <p:nvPr>
            <p:custDataLst>
              <p:tags r:id="rId136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5" name="OTLSHAPE_SLT_71feb0897c2b47d28678366d0661913b_JoinedDate" hidden="1">
            <a:extLst>
              <a:ext uri="{FF2B5EF4-FFF2-40B4-BE49-F238E27FC236}">
                <a16:creationId xmlns:a16="http://schemas.microsoft.com/office/drawing/2014/main" id="{4529CF88-783B-4063-B526-96900BAA387C}"/>
              </a:ext>
            </a:extLst>
          </p:cNvPr>
          <p:cNvSpPr txBox="1"/>
          <p:nvPr>
            <p:custDataLst>
              <p:tags r:id="rId137"/>
            </p:custDataLst>
          </p:nvPr>
        </p:nvSpPr>
        <p:spPr>
          <a:xfrm>
            <a:off x="12700" y="-695186"/>
            <a:ext cx="8128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eb 17 - Mar 31</a:t>
            </a:r>
          </a:p>
        </p:txBody>
      </p:sp>
      <p:sp>
        <p:nvSpPr>
          <p:cNvPr id="87" name="OTLSHAPE_SLT_71feb0897c2b47d28678366d0661913b_StartDate" hidden="1">
            <a:extLst>
              <a:ext uri="{FF2B5EF4-FFF2-40B4-BE49-F238E27FC236}">
                <a16:creationId xmlns:a16="http://schemas.microsoft.com/office/drawing/2014/main" id="{70992E93-F930-46D8-8BDE-0E6CD232DF77}"/>
              </a:ext>
            </a:extLst>
          </p:cNvPr>
          <p:cNvSpPr txBox="1"/>
          <p:nvPr>
            <p:custDataLst>
              <p:tags r:id="rId138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8" name="OTLSHAPE_SLT_71feb0897c2b47d28678366d0661913b_EndDate" hidden="1">
            <a:extLst>
              <a:ext uri="{FF2B5EF4-FFF2-40B4-BE49-F238E27FC236}">
                <a16:creationId xmlns:a16="http://schemas.microsoft.com/office/drawing/2014/main" id="{1712B2B8-791C-49B2-8604-FC02A01E9171}"/>
              </a:ext>
            </a:extLst>
          </p:cNvPr>
          <p:cNvSpPr txBox="1"/>
          <p:nvPr>
            <p:custDataLst>
              <p:tags r:id="rId139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0" name="OTLSHAPE_SLT_fa8886b769a54c02817aaba54576e921_TextPercentage" hidden="1">
            <a:extLst>
              <a:ext uri="{FF2B5EF4-FFF2-40B4-BE49-F238E27FC236}">
                <a16:creationId xmlns:a16="http://schemas.microsoft.com/office/drawing/2014/main" id="{3033AC26-43A8-4E6B-9774-B7246BC6492B}"/>
              </a:ext>
            </a:extLst>
          </p:cNvPr>
          <p:cNvSpPr txBox="1"/>
          <p:nvPr>
            <p:custDataLst>
              <p:tags r:id="rId140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1" name="OTLSHAPE_SLT_fa8886b769a54c02817aaba54576e921_JoinedDate" hidden="1">
            <a:extLst>
              <a:ext uri="{FF2B5EF4-FFF2-40B4-BE49-F238E27FC236}">
                <a16:creationId xmlns:a16="http://schemas.microsoft.com/office/drawing/2014/main" id="{2B5B29C5-18C7-4AE6-8CF5-0CE4019A6F3A}"/>
              </a:ext>
            </a:extLst>
          </p:cNvPr>
          <p:cNvSpPr txBox="1"/>
          <p:nvPr>
            <p:custDataLst>
              <p:tags r:id="rId141"/>
            </p:custDataLst>
          </p:nvPr>
        </p:nvSpPr>
        <p:spPr>
          <a:xfrm>
            <a:off x="12700" y="-541298"/>
            <a:ext cx="6604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r 1 - Sep 1</a:t>
            </a:r>
          </a:p>
        </p:txBody>
      </p:sp>
      <p:sp>
        <p:nvSpPr>
          <p:cNvPr id="92" name="OTLSHAPE_SLT_fa8886b769a54c02817aaba54576e921_StartDate" hidden="1">
            <a:extLst>
              <a:ext uri="{FF2B5EF4-FFF2-40B4-BE49-F238E27FC236}">
                <a16:creationId xmlns:a16="http://schemas.microsoft.com/office/drawing/2014/main" id="{D700CB2C-B164-4144-A153-FF4BBA80D3C9}"/>
              </a:ext>
            </a:extLst>
          </p:cNvPr>
          <p:cNvSpPr txBox="1"/>
          <p:nvPr>
            <p:custDataLst>
              <p:tags r:id="rId142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3" name="OTLSHAPE_SLT_fa8886b769a54c02817aaba54576e921_EndDate" hidden="1">
            <a:extLst>
              <a:ext uri="{FF2B5EF4-FFF2-40B4-BE49-F238E27FC236}">
                <a16:creationId xmlns:a16="http://schemas.microsoft.com/office/drawing/2014/main" id="{3955DF29-F36A-47A3-92FE-C374C852DA14}"/>
              </a:ext>
            </a:extLst>
          </p:cNvPr>
          <p:cNvSpPr txBox="1"/>
          <p:nvPr>
            <p:custDataLst>
              <p:tags r:id="rId143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6" name="OTLSHAPE_SLT_a0005013d1434eca8799fe0021a266e0_Duration" hidden="1">
            <a:extLst>
              <a:ext uri="{FF2B5EF4-FFF2-40B4-BE49-F238E27FC236}">
                <a16:creationId xmlns:a16="http://schemas.microsoft.com/office/drawing/2014/main" id="{7AEC0723-F1FA-4374-AC19-2627058BED79}"/>
              </a:ext>
            </a:extLst>
          </p:cNvPr>
          <p:cNvSpPr txBox="1"/>
          <p:nvPr>
            <p:custDataLst>
              <p:tags r:id="rId144"/>
            </p:custDataLst>
          </p:nvPr>
        </p:nvSpPr>
        <p:spPr>
          <a:xfrm>
            <a:off x="12700" y="-310466"/>
            <a:ext cx="4064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.1 wks</a:t>
            </a:r>
          </a:p>
        </p:txBody>
      </p:sp>
      <p:sp>
        <p:nvSpPr>
          <p:cNvPr id="97" name="OTLSHAPE_SLT_a0005013d1434eca8799fe0021a266e0_TextPercentage" hidden="1">
            <a:extLst>
              <a:ext uri="{FF2B5EF4-FFF2-40B4-BE49-F238E27FC236}">
                <a16:creationId xmlns:a16="http://schemas.microsoft.com/office/drawing/2014/main" id="{8040AE05-67DC-4A18-8326-EBD75E186F08}"/>
              </a:ext>
            </a:extLst>
          </p:cNvPr>
          <p:cNvSpPr txBox="1"/>
          <p:nvPr>
            <p:custDataLst>
              <p:tags r:id="rId145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8" name="OTLSHAPE_SLT_a0005013d1434eca8799fe0021a266e0_JoinedDate" hidden="1">
            <a:extLst>
              <a:ext uri="{FF2B5EF4-FFF2-40B4-BE49-F238E27FC236}">
                <a16:creationId xmlns:a16="http://schemas.microsoft.com/office/drawing/2014/main" id="{6605FBD2-43B4-4C10-9395-9A425E794609}"/>
              </a:ext>
            </a:extLst>
          </p:cNvPr>
          <p:cNvSpPr txBox="1"/>
          <p:nvPr>
            <p:custDataLst>
              <p:tags r:id="rId146"/>
            </p:custDataLst>
          </p:nvPr>
        </p:nvSpPr>
        <p:spPr>
          <a:xfrm>
            <a:off x="12700" y="-618242"/>
            <a:ext cx="7239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p 1 - Oct 21</a:t>
            </a:r>
          </a:p>
        </p:txBody>
      </p:sp>
      <p:sp>
        <p:nvSpPr>
          <p:cNvPr id="99" name="OTLSHAPE_SLT_a0005013d1434eca8799fe0021a266e0_StartDate" hidden="1">
            <a:extLst>
              <a:ext uri="{FF2B5EF4-FFF2-40B4-BE49-F238E27FC236}">
                <a16:creationId xmlns:a16="http://schemas.microsoft.com/office/drawing/2014/main" id="{DD42F0D9-A74A-4BC5-99F4-488152338C2B}"/>
              </a:ext>
            </a:extLst>
          </p:cNvPr>
          <p:cNvSpPr txBox="1"/>
          <p:nvPr>
            <p:custDataLst>
              <p:tags r:id="rId147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0" name="OTLSHAPE_SLT_a0005013d1434eca8799fe0021a266e0_EndDate" hidden="1">
            <a:extLst>
              <a:ext uri="{FF2B5EF4-FFF2-40B4-BE49-F238E27FC236}">
                <a16:creationId xmlns:a16="http://schemas.microsoft.com/office/drawing/2014/main" id="{F40393B6-EBA7-4B0E-82EC-40509F34BD09}"/>
              </a:ext>
            </a:extLst>
          </p:cNvPr>
          <p:cNvSpPr txBox="1"/>
          <p:nvPr>
            <p:custDataLst>
              <p:tags r:id="rId148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4" name="OTLSHAPE_SLT_db841b2dc0b5434e83008cd4d4e540bc_Duration" hidden="1">
            <a:extLst>
              <a:ext uri="{FF2B5EF4-FFF2-40B4-BE49-F238E27FC236}">
                <a16:creationId xmlns:a16="http://schemas.microsoft.com/office/drawing/2014/main" id="{E1099E04-D868-4E6A-A416-BE4B118349E4}"/>
              </a:ext>
            </a:extLst>
          </p:cNvPr>
          <p:cNvSpPr txBox="1"/>
          <p:nvPr>
            <p:custDataLst>
              <p:tags r:id="rId149"/>
            </p:custDataLst>
          </p:nvPr>
        </p:nvSpPr>
        <p:spPr>
          <a:xfrm>
            <a:off x="12700" y="-458748"/>
            <a:ext cx="495300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5.9 days</a:t>
            </a:r>
          </a:p>
        </p:txBody>
      </p:sp>
      <p:sp>
        <p:nvSpPr>
          <p:cNvPr id="105" name="OTLSHAPE_SLT_db841b2dc0b5434e83008cd4d4e540bc_TextPercentage" hidden="1">
            <a:extLst>
              <a:ext uri="{FF2B5EF4-FFF2-40B4-BE49-F238E27FC236}">
                <a16:creationId xmlns:a16="http://schemas.microsoft.com/office/drawing/2014/main" id="{0E428E41-1C06-40E4-AFB7-56D0E8FE8429}"/>
              </a:ext>
            </a:extLst>
          </p:cNvPr>
          <p:cNvSpPr txBox="1"/>
          <p:nvPr>
            <p:custDataLst>
              <p:tags r:id="rId150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6" name="OTLSHAPE_SLT_db841b2dc0b5434e83008cd4d4e540bc_JoinedDate" hidden="1">
            <a:extLst>
              <a:ext uri="{FF2B5EF4-FFF2-40B4-BE49-F238E27FC236}">
                <a16:creationId xmlns:a16="http://schemas.microsoft.com/office/drawing/2014/main" id="{180343EE-F7AB-40E0-B6F1-B18756D7397F}"/>
              </a:ext>
            </a:extLst>
          </p:cNvPr>
          <p:cNvSpPr txBox="1"/>
          <p:nvPr>
            <p:custDataLst>
              <p:tags r:id="rId151"/>
            </p:custDataLst>
          </p:nvPr>
        </p:nvSpPr>
        <p:spPr>
          <a:xfrm>
            <a:off x="12700" y="-695186"/>
            <a:ext cx="787400" cy="1651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ct 21 - Dec 25</a:t>
            </a:r>
          </a:p>
        </p:txBody>
      </p:sp>
      <p:sp>
        <p:nvSpPr>
          <p:cNvPr id="107" name="OTLSHAPE_SLT_db841b2dc0b5434e83008cd4d4e540bc_StartDate" hidden="1">
            <a:extLst>
              <a:ext uri="{FF2B5EF4-FFF2-40B4-BE49-F238E27FC236}">
                <a16:creationId xmlns:a16="http://schemas.microsoft.com/office/drawing/2014/main" id="{8843F98A-7A20-40E4-A42A-4925E620682B}"/>
              </a:ext>
            </a:extLst>
          </p:cNvPr>
          <p:cNvSpPr txBox="1"/>
          <p:nvPr>
            <p:custDataLst>
              <p:tags r:id="rId152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8" name="OTLSHAPE_SLT_db841b2dc0b5434e83008cd4d4e540bc_EndDate" hidden="1">
            <a:extLst>
              <a:ext uri="{FF2B5EF4-FFF2-40B4-BE49-F238E27FC236}">
                <a16:creationId xmlns:a16="http://schemas.microsoft.com/office/drawing/2014/main" id="{3CFEAAF7-B974-43E7-A055-775DB525BA5C}"/>
              </a:ext>
            </a:extLst>
          </p:cNvPr>
          <p:cNvSpPr txBox="1"/>
          <p:nvPr>
            <p:custDataLst>
              <p:tags r:id="rId153"/>
            </p:custDataLst>
          </p:nvPr>
        </p:nvSpPr>
        <p:spPr>
          <a:xfrm>
            <a:off x="12700" y="74255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1" name="OTLSHAPE_SLM_27e0e90c8e61460f88da93ab404fc85d_Date" hidden="1">
            <a:extLst>
              <a:ext uri="{FF2B5EF4-FFF2-40B4-BE49-F238E27FC236}">
                <a16:creationId xmlns:a16="http://schemas.microsoft.com/office/drawing/2014/main" id="{C3691E3D-4821-4572-BF42-C1C2A1C15A41}"/>
              </a:ext>
            </a:extLst>
          </p:cNvPr>
          <p:cNvSpPr txBox="1"/>
          <p:nvPr>
            <p:custDataLst>
              <p:tags r:id="rId154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c 20</a:t>
            </a:r>
          </a:p>
        </p:txBody>
      </p:sp>
      <p:sp>
        <p:nvSpPr>
          <p:cNvPr id="132" name="OTLSHAPE_SLM_05f5e22b071042a1a1dc59615bb4c469_Date" hidden="1">
            <a:extLst>
              <a:ext uri="{FF2B5EF4-FFF2-40B4-BE49-F238E27FC236}">
                <a16:creationId xmlns:a16="http://schemas.microsoft.com/office/drawing/2014/main" id="{D0B48D76-9C28-472F-AB1D-7CDCF06057BA}"/>
              </a:ext>
            </a:extLst>
          </p:cNvPr>
          <p:cNvSpPr txBox="1"/>
          <p:nvPr>
            <p:custDataLst>
              <p:tags r:id="rId155"/>
            </p:custDataLst>
          </p:nvPr>
        </p:nvSpPr>
        <p:spPr>
          <a:xfrm>
            <a:off x="12700" y="-156577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r 1</a:t>
            </a:r>
          </a:p>
        </p:txBody>
      </p:sp>
      <p:sp>
        <p:nvSpPr>
          <p:cNvPr id="134" name="OTLSHAPE_SLM_38f7caf9b7404674b5040d0ab204f9f9_Date" hidden="1">
            <a:extLst>
              <a:ext uri="{FF2B5EF4-FFF2-40B4-BE49-F238E27FC236}">
                <a16:creationId xmlns:a16="http://schemas.microsoft.com/office/drawing/2014/main" id="{18D440D9-C674-4FEA-B24D-B61F3C73ED42}"/>
              </a:ext>
            </a:extLst>
          </p:cNvPr>
          <p:cNvSpPr txBox="1"/>
          <p:nvPr>
            <p:custDataLst>
              <p:tags r:id="rId156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ug 10</a:t>
            </a:r>
          </a:p>
        </p:txBody>
      </p:sp>
      <p:sp>
        <p:nvSpPr>
          <p:cNvPr id="135" name="OTLSHAPE_SLM_5024da5f4d8841748a89544126f9da82_Date" hidden="1">
            <a:extLst>
              <a:ext uri="{FF2B5EF4-FFF2-40B4-BE49-F238E27FC236}">
                <a16:creationId xmlns:a16="http://schemas.microsoft.com/office/drawing/2014/main" id="{0D51E0D9-0E28-4755-A5C8-4BDAEFE06D17}"/>
              </a:ext>
            </a:extLst>
          </p:cNvPr>
          <p:cNvSpPr txBox="1"/>
          <p:nvPr>
            <p:custDataLst>
              <p:tags r:id="rId157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ct 19</a:t>
            </a:r>
          </a:p>
        </p:txBody>
      </p:sp>
      <p:sp>
        <p:nvSpPr>
          <p:cNvPr id="136" name="OTLSHAPE_SLM_42c1a0ca0ec74680a58bbd3c49f9125b_Date" hidden="1">
            <a:extLst>
              <a:ext uri="{FF2B5EF4-FFF2-40B4-BE49-F238E27FC236}">
                <a16:creationId xmlns:a16="http://schemas.microsoft.com/office/drawing/2014/main" id="{FA10EC18-0DE8-470B-95B1-C97583EAAE23}"/>
              </a:ext>
            </a:extLst>
          </p:cNvPr>
          <p:cNvSpPr txBox="1"/>
          <p:nvPr>
            <p:custDataLst>
              <p:tags r:id="rId158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y 19</a:t>
            </a:r>
          </a:p>
        </p:txBody>
      </p:sp>
      <p:sp>
        <p:nvSpPr>
          <p:cNvPr id="137" name="OTLSHAPE_SLM_0fe6e6c4d349427c81caccf576ba460c_Date" hidden="1">
            <a:extLst>
              <a:ext uri="{FF2B5EF4-FFF2-40B4-BE49-F238E27FC236}">
                <a16:creationId xmlns:a16="http://schemas.microsoft.com/office/drawing/2014/main" id="{1B69F2CA-3FA0-46AB-ADFC-CE5B3421B69A}"/>
              </a:ext>
            </a:extLst>
          </p:cNvPr>
          <p:cNvSpPr txBox="1"/>
          <p:nvPr>
            <p:custDataLst>
              <p:tags r:id="rId159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ct 18</a:t>
            </a:r>
          </a:p>
        </p:txBody>
      </p:sp>
      <p:sp>
        <p:nvSpPr>
          <p:cNvPr id="138" name="OTLSHAPE_SLM_7695617a14a84c95a269c6cd4b4f335a_Date" hidden="1">
            <a:extLst>
              <a:ext uri="{FF2B5EF4-FFF2-40B4-BE49-F238E27FC236}">
                <a16:creationId xmlns:a16="http://schemas.microsoft.com/office/drawing/2014/main" id="{26236833-B1EC-4E71-9FAF-7436BE028967}"/>
              </a:ext>
            </a:extLst>
          </p:cNvPr>
          <p:cNvSpPr txBox="1"/>
          <p:nvPr>
            <p:custDataLst>
              <p:tags r:id="rId160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c 21</a:t>
            </a:r>
          </a:p>
        </p:txBody>
      </p:sp>
      <p:cxnSp>
        <p:nvCxnSpPr>
          <p:cNvPr id="401" name="OTLSHAPE_TB_00000000000000000000000000000000_Separator1">
            <a:extLst>
              <a:ext uri="{FF2B5EF4-FFF2-40B4-BE49-F238E27FC236}">
                <a16:creationId xmlns:a16="http://schemas.microsoft.com/office/drawing/2014/main" id="{EFF250CC-0807-44FD-A6E3-DF65A374E1D0}"/>
              </a:ext>
            </a:extLst>
          </p:cNvPr>
          <p:cNvCxnSpPr>
            <a:cxnSpLocks/>
          </p:cNvCxnSpPr>
          <p:nvPr>
            <p:custDataLst>
              <p:tags r:id="rId161"/>
            </p:custDataLst>
          </p:nvPr>
        </p:nvCxnSpPr>
        <p:spPr>
          <a:xfrm>
            <a:off x="3326540" y="1374140"/>
            <a:ext cx="0" cy="203200"/>
          </a:xfrm>
          <a:prstGeom prst="line">
            <a:avLst/>
          </a:prstGeom>
          <a:ln w="9525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OTLSHAPE_TB_00000000000000000000000000000000_Separator2">
            <a:extLst>
              <a:ext uri="{FF2B5EF4-FFF2-40B4-BE49-F238E27FC236}">
                <a16:creationId xmlns:a16="http://schemas.microsoft.com/office/drawing/2014/main" id="{7177E166-5FD2-4461-A27E-9D228701EEC7}"/>
              </a:ext>
            </a:extLst>
          </p:cNvPr>
          <p:cNvCxnSpPr/>
          <p:nvPr>
            <p:custDataLst>
              <p:tags r:id="rId162"/>
            </p:custDataLst>
          </p:nvPr>
        </p:nvCxnSpPr>
        <p:spPr>
          <a:xfrm>
            <a:off x="6452369" y="1323340"/>
            <a:ext cx="0" cy="203200"/>
          </a:xfrm>
          <a:prstGeom prst="line">
            <a:avLst/>
          </a:prstGeom>
          <a:ln w="9525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OTLSHAPE_TB_00000000000000000000000000000000_Separator3">
            <a:extLst>
              <a:ext uri="{FF2B5EF4-FFF2-40B4-BE49-F238E27FC236}">
                <a16:creationId xmlns:a16="http://schemas.microsoft.com/office/drawing/2014/main" id="{2FAAE1BE-551C-4F35-A2FA-C7B15464874A}"/>
              </a:ext>
            </a:extLst>
          </p:cNvPr>
          <p:cNvCxnSpPr/>
          <p:nvPr>
            <p:custDataLst>
              <p:tags r:id="rId163"/>
            </p:custDataLst>
          </p:nvPr>
        </p:nvCxnSpPr>
        <p:spPr>
          <a:xfrm>
            <a:off x="9074365" y="1323340"/>
            <a:ext cx="0" cy="203200"/>
          </a:xfrm>
          <a:prstGeom prst="line">
            <a:avLst/>
          </a:prstGeom>
          <a:ln w="9525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4" name="OTLSHAPE_M_ad52e739797946d7bd463b006c06394d_Shape">
            <a:extLst>
              <a:ext uri="{FF2B5EF4-FFF2-40B4-BE49-F238E27FC236}">
                <a16:creationId xmlns:a16="http://schemas.microsoft.com/office/drawing/2014/main" id="{9F099775-87FE-4D93-AF37-E240D5765B0D}"/>
              </a:ext>
            </a:extLst>
          </p:cNvPr>
          <p:cNvSpPr/>
          <p:nvPr>
            <p:custDataLst>
              <p:tags r:id="rId164"/>
            </p:custDataLst>
          </p:nvPr>
        </p:nvSpPr>
        <p:spPr>
          <a:xfrm>
            <a:off x="3273344" y="1025250"/>
            <a:ext cx="228600" cy="254000"/>
          </a:xfrm>
          <a:prstGeom prst="flowChartManualOperation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5" name="OTLSHAPE_M_4a076ebd25c146989ebf5900a5b4447e_Shape">
            <a:extLst>
              <a:ext uri="{FF2B5EF4-FFF2-40B4-BE49-F238E27FC236}">
                <a16:creationId xmlns:a16="http://schemas.microsoft.com/office/drawing/2014/main" id="{A0897136-47F9-4312-80A9-EB5B3AD26F7B}"/>
              </a:ext>
            </a:extLst>
          </p:cNvPr>
          <p:cNvSpPr/>
          <p:nvPr>
            <p:custDataLst>
              <p:tags r:id="rId165"/>
            </p:custDataLst>
          </p:nvPr>
        </p:nvSpPr>
        <p:spPr>
          <a:xfrm>
            <a:off x="6337731" y="1033392"/>
            <a:ext cx="228600" cy="254000"/>
          </a:xfrm>
          <a:prstGeom prst="flowChartManualOperation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6" name="OTLSHAPE_M_db4393fafb20429da7667ad39271af50_Shape">
            <a:extLst>
              <a:ext uri="{FF2B5EF4-FFF2-40B4-BE49-F238E27FC236}">
                <a16:creationId xmlns:a16="http://schemas.microsoft.com/office/drawing/2014/main" id="{6E59FB29-E022-4225-831B-1BF545F1F193}"/>
              </a:ext>
            </a:extLst>
          </p:cNvPr>
          <p:cNvSpPr/>
          <p:nvPr>
            <p:custDataLst>
              <p:tags r:id="rId166"/>
            </p:custDataLst>
          </p:nvPr>
        </p:nvSpPr>
        <p:spPr>
          <a:xfrm>
            <a:off x="8967985" y="1035737"/>
            <a:ext cx="228600" cy="254000"/>
          </a:xfrm>
          <a:prstGeom prst="flowChartManualOperation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7" name="OTLSHAPE_M_d13f186547184bbb84e3129eee9c4279_Shape">
            <a:extLst>
              <a:ext uri="{FF2B5EF4-FFF2-40B4-BE49-F238E27FC236}">
                <a16:creationId xmlns:a16="http://schemas.microsoft.com/office/drawing/2014/main" id="{D30EF0F2-D44A-4AF4-A21C-F1CCBF7B9302}"/>
              </a:ext>
            </a:extLst>
          </p:cNvPr>
          <p:cNvSpPr/>
          <p:nvPr>
            <p:custDataLst>
              <p:tags r:id="rId167"/>
            </p:custDataLst>
          </p:nvPr>
        </p:nvSpPr>
        <p:spPr>
          <a:xfrm>
            <a:off x="11453078" y="1043580"/>
            <a:ext cx="228600" cy="254000"/>
          </a:xfrm>
          <a:prstGeom prst="flowChartManualOperation">
            <a:avLst/>
          </a:prstGeom>
          <a:solidFill>
            <a:srgbClr val="B20E12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TLSHAPE_M_ad52e739797946d7bd463b006c06394d_Date" hidden="1">
            <a:extLst>
              <a:ext uri="{FF2B5EF4-FFF2-40B4-BE49-F238E27FC236}">
                <a16:creationId xmlns:a16="http://schemas.microsoft.com/office/drawing/2014/main" id="{070372F7-5885-4C55-854D-2C1876F53C88}"/>
              </a:ext>
            </a:extLst>
          </p:cNvPr>
          <p:cNvSpPr txBox="1"/>
          <p:nvPr>
            <p:custDataLst>
              <p:tags r:id="rId168"/>
            </p:custDataLst>
          </p:nvPr>
        </p:nvSpPr>
        <p:spPr>
          <a:xfrm>
            <a:off x="12700" y="-1079907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2/Mar</a:t>
            </a:r>
          </a:p>
        </p:txBody>
      </p:sp>
      <p:sp>
        <p:nvSpPr>
          <p:cNvPr id="18" name="OTLSHAPE_M_4a076ebd25c146989ebf5900a5b4447e_Date" hidden="1">
            <a:extLst>
              <a:ext uri="{FF2B5EF4-FFF2-40B4-BE49-F238E27FC236}">
                <a16:creationId xmlns:a16="http://schemas.microsoft.com/office/drawing/2014/main" id="{F33EFF52-70B0-4277-AB8A-27A1C0EC9E32}"/>
              </a:ext>
            </a:extLst>
          </p:cNvPr>
          <p:cNvSpPr txBox="1"/>
          <p:nvPr>
            <p:custDataLst>
              <p:tags r:id="rId169"/>
            </p:custDataLst>
          </p:nvPr>
        </p:nvSpPr>
        <p:spPr>
          <a:xfrm>
            <a:off x="12700" y="-1079907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2/Jul</a:t>
            </a:r>
          </a:p>
        </p:txBody>
      </p:sp>
      <p:sp>
        <p:nvSpPr>
          <p:cNvPr id="19" name="OTLSHAPE_M_db4393fafb20429da7667ad39271af50_Date" hidden="1">
            <a:extLst>
              <a:ext uri="{FF2B5EF4-FFF2-40B4-BE49-F238E27FC236}">
                <a16:creationId xmlns:a16="http://schemas.microsoft.com/office/drawing/2014/main" id="{89FACDC1-3581-4535-8CCE-48B6BAFEEB57}"/>
              </a:ext>
            </a:extLst>
          </p:cNvPr>
          <p:cNvSpPr txBox="1"/>
          <p:nvPr>
            <p:custDataLst>
              <p:tags r:id="rId170"/>
            </p:custDataLst>
          </p:nvPr>
        </p:nvSpPr>
        <p:spPr>
          <a:xfrm>
            <a:off x="12700" y="-1079907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2/Sep</a:t>
            </a:r>
          </a:p>
        </p:txBody>
      </p:sp>
      <p:sp>
        <p:nvSpPr>
          <p:cNvPr id="21" name="OTLSHAPE_M_d13f186547184bbb84e3129eee9c4279_Date" hidden="1">
            <a:extLst>
              <a:ext uri="{FF2B5EF4-FFF2-40B4-BE49-F238E27FC236}">
                <a16:creationId xmlns:a16="http://schemas.microsoft.com/office/drawing/2014/main" id="{A057E909-0BD4-400D-A573-0E9E72B1661B}"/>
              </a:ext>
            </a:extLst>
          </p:cNvPr>
          <p:cNvSpPr txBox="1"/>
          <p:nvPr>
            <p:custDataLst>
              <p:tags r:id="rId171"/>
            </p:custDataLst>
          </p:nvPr>
        </p:nvSpPr>
        <p:spPr>
          <a:xfrm>
            <a:off x="12700" y="-1079907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22/Dec</a:t>
            </a:r>
          </a:p>
        </p:txBody>
      </p:sp>
      <p:sp>
        <p:nvSpPr>
          <p:cNvPr id="116" name="OTLSHAPE_SLA_966ac8e38d974bfeae23890a126b2a79_Title" hidden="1">
            <a:extLst>
              <a:ext uri="{FF2B5EF4-FFF2-40B4-BE49-F238E27FC236}">
                <a16:creationId xmlns:a16="http://schemas.microsoft.com/office/drawing/2014/main" id="{AEBC1C00-BB25-456B-BD06-B0DEBA1982F4}"/>
              </a:ext>
            </a:extLst>
          </p:cNvPr>
          <p:cNvSpPr txBox="1"/>
          <p:nvPr>
            <p:custDataLst>
              <p:tags r:id="rId172"/>
            </p:custDataLst>
          </p:nvPr>
        </p:nvSpPr>
        <p:spPr>
          <a:xfrm>
            <a:off x="12700" y="-1033740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ickoff Meeting</a:t>
            </a:r>
          </a:p>
        </p:txBody>
      </p:sp>
      <p:sp>
        <p:nvSpPr>
          <p:cNvPr id="117" name="OTLSHAPE_SLA_966ac8e38d974bfeae23890a126b2a79_Date" hidden="1">
            <a:extLst>
              <a:ext uri="{FF2B5EF4-FFF2-40B4-BE49-F238E27FC236}">
                <a16:creationId xmlns:a16="http://schemas.microsoft.com/office/drawing/2014/main" id="{6CFF9BBD-F32C-40AD-A789-FA2BF52E9FBE}"/>
              </a:ext>
            </a:extLst>
          </p:cNvPr>
          <p:cNvSpPr txBox="1"/>
          <p:nvPr>
            <p:custDataLst>
              <p:tags r:id="rId173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an 16</a:t>
            </a:r>
          </a:p>
        </p:txBody>
      </p:sp>
      <p:sp>
        <p:nvSpPr>
          <p:cNvPr id="121" name="OTLSHAPE_SLA_3999f18e2c61454cadfd7ea463d2536b_Title" hidden="1">
            <a:extLst>
              <a:ext uri="{FF2B5EF4-FFF2-40B4-BE49-F238E27FC236}">
                <a16:creationId xmlns:a16="http://schemas.microsoft.com/office/drawing/2014/main" id="{C4D3A344-62E9-405D-AC3B-63854602CD0C}"/>
              </a:ext>
            </a:extLst>
          </p:cNvPr>
          <p:cNvSpPr txBox="1"/>
          <p:nvPr>
            <p:custDataLst>
              <p:tags r:id="rId174"/>
            </p:custDataLst>
          </p:nvPr>
        </p:nvSpPr>
        <p:spPr>
          <a:xfrm>
            <a:off x="12700" y="-779824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PIs Defined</a:t>
            </a:r>
          </a:p>
        </p:txBody>
      </p:sp>
      <p:sp>
        <p:nvSpPr>
          <p:cNvPr id="122" name="OTLSHAPE_SLA_3999f18e2c61454cadfd7ea463d2536b_Date" hidden="1">
            <a:extLst>
              <a:ext uri="{FF2B5EF4-FFF2-40B4-BE49-F238E27FC236}">
                <a16:creationId xmlns:a16="http://schemas.microsoft.com/office/drawing/2014/main" id="{92707BB7-0CD4-424B-93D0-4289CE6BC167}"/>
              </a:ext>
            </a:extLst>
          </p:cNvPr>
          <p:cNvSpPr txBox="1"/>
          <p:nvPr>
            <p:custDataLst>
              <p:tags r:id="rId175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 31</a:t>
            </a:r>
          </a:p>
        </p:txBody>
      </p:sp>
      <p:sp>
        <p:nvSpPr>
          <p:cNvPr id="125" name="OTLSHAPE_SLA_0723a534b8b04d848ad49d960b833b9c_Date" hidden="1">
            <a:extLst>
              <a:ext uri="{FF2B5EF4-FFF2-40B4-BE49-F238E27FC236}">
                <a16:creationId xmlns:a16="http://schemas.microsoft.com/office/drawing/2014/main" id="{8E6B0978-0D82-4625-BA1C-4905F9983C5A}"/>
              </a:ext>
            </a:extLst>
          </p:cNvPr>
          <p:cNvSpPr txBox="1"/>
          <p:nvPr>
            <p:custDataLst>
              <p:tags r:id="rId176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 31</a:t>
            </a:r>
          </a:p>
        </p:txBody>
      </p:sp>
      <p:sp>
        <p:nvSpPr>
          <p:cNvPr id="129" name="OTLSHAPE_SLA_5f22e295269f42e9b1ce98b4118ab3d0_Title">
            <a:extLst>
              <a:ext uri="{FF2B5EF4-FFF2-40B4-BE49-F238E27FC236}">
                <a16:creationId xmlns:a16="http://schemas.microsoft.com/office/drawing/2014/main" id="{7204AD95-6586-451F-81D5-9A431791936C}"/>
              </a:ext>
            </a:extLst>
          </p:cNvPr>
          <p:cNvSpPr txBox="1"/>
          <p:nvPr>
            <p:custDataLst>
              <p:tags r:id="rId177"/>
            </p:custDataLst>
          </p:nvPr>
        </p:nvSpPr>
        <p:spPr>
          <a:xfrm>
            <a:off x="3653728" y="3323427"/>
            <a:ext cx="2284044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-4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nder Competition, Group assembled</a:t>
            </a:r>
          </a:p>
        </p:txBody>
      </p:sp>
      <p:sp>
        <p:nvSpPr>
          <p:cNvPr id="130" name="OTLSHAPE_SLA_5f22e295269f42e9b1ce98b4118ab3d0_Date" hidden="1">
            <a:extLst>
              <a:ext uri="{FF2B5EF4-FFF2-40B4-BE49-F238E27FC236}">
                <a16:creationId xmlns:a16="http://schemas.microsoft.com/office/drawing/2014/main" id="{0FEA72F1-B0A6-41FF-812E-5CE048E79E8B}"/>
              </a:ext>
            </a:extLst>
          </p:cNvPr>
          <p:cNvSpPr txBox="1"/>
          <p:nvPr>
            <p:custDataLst>
              <p:tags r:id="rId178"/>
            </p:custDataLst>
          </p:nvPr>
        </p:nvSpPr>
        <p:spPr>
          <a:xfrm>
            <a:off x="12700" y="-156577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un 7</a:t>
            </a:r>
          </a:p>
        </p:txBody>
      </p:sp>
      <p:sp>
        <p:nvSpPr>
          <p:cNvPr id="188" name="OTLSHAPE_SLA_8ed28b9183de4588a46ed4323066c28f_Date" hidden="1">
            <a:extLst>
              <a:ext uri="{FF2B5EF4-FFF2-40B4-BE49-F238E27FC236}">
                <a16:creationId xmlns:a16="http://schemas.microsoft.com/office/drawing/2014/main" id="{DB372E10-B142-43BF-8092-FBCE57704F43}"/>
              </a:ext>
            </a:extLst>
          </p:cNvPr>
          <p:cNvSpPr txBox="1"/>
          <p:nvPr>
            <p:custDataLst>
              <p:tags r:id="rId179"/>
            </p:custDataLst>
          </p:nvPr>
        </p:nvSpPr>
        <p:spPr>
          <a:xfrm>
            <a:off x="12700" y="-233521"/>
            <a:ext cx="0" cy="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ul 28</a:t>
            </a:r>
          </a:p>
        </p:txBody>
      </p:sp>
      <p:sp>
        <p:nvSpPr>
          <p:cNvPr id="190" name="OTLSHAPE_SLA_3ef8107866514941904e61ada6b41143_Title">
            <a:extLst>
              <a:ext uri="{FF2B5EF4-FFF2-40B4-BE49-F238E27FC236}">
                <a16:creationId xmlns:a16="http://schemas.microsoft.com/office/drawing/2014/main" id="{C819814F-5CE8-4740-8A67-D0B8C4E193F5}"/>
              </a:ext>
            </a:extLst>
          </p:cNvPr>
          <p:cNvSpPr txBox="1"/>
          <p:nvPr>
            <p:custDataLst>
              <p:tags r:id="rId180"/>
            </p:custDataLst>
          </p:nvPr>
        </p:nvSpPr>
        <p:spPr>
          <a:xfrm>
            <a:off x="4102301" y="4607516"/>
            <a:ext cx="756518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-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ta room Populat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5B1B5F-0817-4260-8D15-7B05D7A3D549}"/>
              </a:ext>
            </a:extLst>
          </p:cNvPr>
          <p:cNvSpPr txBox="1"/>
          <p:nvPr/>
        </p:nvSpPr>
        <p:spPr>
          <a:xfrm>
            <a:off x="290522" y="214833"/>
            <a:ext cx="74506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anose="020B0502040204020203" pitchFamily="34" charset="0"/>
              </a:rPr>
              <a:t>Finance Workstream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0" name="OTLSHAPE_SLT_c60910096d5a4b6f9de76b63feadcf94_Shape">
            <a:extLst>
              <a:ext uri="{FF2B5EF4-FFF2-40B4-BE49-F238E27FC236}">
                <a16:creationId xmlns:a16="http://schemas.microsoft.com/office/drawing/2014/main" id="{BE6D6743-2611-D7D1-22C4-65CB333ADD79}"/>
              </a:ext>
            </a:extLst>
          </p:cNvPr>
          <p:cNvSpPr/>
          <p:nvPr>
            <p:custDataLst>
              <p:tags r:id="rId181"/>
            </p:custDataLst>
          </p:nvPr>
        </p:nvSpPr>
        <p:spPr>
          <a:xfrm>
            <a:off x="9140836" y="3551227"/>
            <a:ext cx="2463800" cy="187571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TLSHAPE_SLT_8d38abf6434f49b59dc24ae1ee36935e_Title">
            <a:extLst>
              <a:ext uri="{FF2B5EF4-FFF2-40B4-BE49-F238E27FC236}">
                <a16:creationId xmlns:a16="http://schemas.microsoft.com/office/drawing/2014/main" id="{51CE5056-FB77-0C80-C3A2-A4C0346AF1B2}"/>
              </a:ext>
            </a:extLst>
          </p:cNvPr>
          <p:cNvSpPr txBox="1"/>
          <p:nvPr>
            <p:custDataLst>
              <p:tags r:id="rId182"/>
            </p:custDataLst>
          </p:nvPr>
        </p:nvSpPr>
        <p:spPr>
          <a:xfrm>
            <a:off x="9357769" y="3550671"/>
            <a:ext cx="2220417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-24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inancing Documents Negotiated</a:t>
            </a:r>
          </a:p>
        </p:txBody>
      </p:sp>
      <p:sp>
        <p:nvSpPr>
          <p:cNvPr id="35" name="OTLSHAPE_SLT_fa8886b769a54c02817aaba54576e921_Shape">
            <a:extLst>
              <a:ext uri="{FF2B5EF4-FFF2-40B4-BE49-F238E27FC236}">
                <a16:creationId xmlns:a16="http://schemas.microsoft.com/office/drawing/2014/main" id="{BB9E2B96-2968-D055-579C-331E9E9F6392}"/>
              </a:ext>
            </a:extLst>
          </p:cNvPr>
          <p:cNvSpPr/>
          <p:nvPr>
            <p:custDataLst>
              <p:tags r:id="rId183"/>
            </p:custDataLst>
          </p:nvPr>
        </p:nvSpPr>
        <p:spPr>
          <a:xfrm>
            <a:off x="4520801" y="5001525"/>
            <a:ext cx="1953149" cy="366939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8" name="OTLSHAPE_SLA_3ef8107866514941904e61ada6b41143_Title">
            <a:extLst>
              <a:ext uri="{FF2B5EF4-FFF2-40B4-BE49-F238E27FC236}">
                <a16:creationId xmlns:a16="http://schemas.microsoft.com/office/drawing/2014/main" id="{FF673E55-DD53-D972-1BA0-C6F5E860B961}"/>
              </a:ext>
            </a:extLst>
          </p:cNvPr>
          <p:cNvSpPr txBox="1"/>
          <p:nvPr>
            <p:custDataLst>
              <p:tags r:id="rId184"/>
            </p:custDataLst>
          </p:nvPr>
        </p:nvSpPr>
        <p:spPr>
          <a:xfrm>
            <a:off x="4567205" y="5010458"/>
            <a:ext cx="1837495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-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raft Reports – Tech, Legal, Insurance, Market</a:t>
            </a:r>
          </a:p>
        </p:txBody>
      </p:sp>
      <p:sp>
        <p:nvSpPr>
          <p:cNvPr id="462" name="OTLSHAPE_SL_9cf0b9a3b4064869b9ae748fb5efbb51_HeaderRectangle">
            <a:extLst>
              <a:ext uri="{FF2B5EF4-FFF2-40B4-BE49-F238E27FC236}">
                <a16:creationId xmlns:a16="http://schemas.microsoft.com/office/drawing/2014/main" id="{181BD086-96BD-B5E6-17DD-2F281DBEC86D}"/>
              </a:ext>
            </a:extLst>
          </p:cNvPr>
          <p:cNvSpPr/>
          <p:nvPr>
            <p:custDataLst>
              <p:tags r:id="rId185"/>
            </p:custDataLst>
          </p:nvPr>
        </p:nvSpPr>
        <p:spPr>
          <a:xfrm>
            <a:off x="6337732" y="153521"/>
            <a:ext cx="5390018" cy="378228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A – Sets Target IRR and necessary CFD ra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sing of spend pre FC to be submitted into Corporate Budget/Cashflow Processes</a:t>
            </a:r>
          </a:p>
        </p:txBody>
      </p:sp>
      <p:sp>
        <p:nvSpPr>
          <p:cNvPr id="463" name="OTLSHAPE_SL_ffee1e79b85943a28c39454ea880fda8_HeaderRectangle">
            <a:extLst>
              <a:ext uri="{FF2B5EF4-FFF2-40B4-BE49-F238E27FC236}">
                <a16:creationId xmlns:a16="http://schemas.microsoft.com/office/drawing/2014/main" id="{90D40CA3-8D7C-1474-6057-8D89BBDD2DF1}"/>
              </a:ext>
            </a:extLst>
          </p:cNvPr>
          <p:cNvSpPr/>
          <p:nvPr>
            <p:custDataLst>
              <p:tags r:id="rId186"/>
            </p:custDataLst>
          </p:nvPr>
        </p:nvSpPr>
        <p:spPr>
          <a:xfrm>
            <a:off x="6337730" y="510690"/>
            <a:ext cx="5390018" cy="362941"/>
          </a:xfrm>
          <a:prstGeom prst="rect">
            <a:avLst/>
          </a:prstGeom>
          <a:solidFill>
            <a:srgbClr val="70AD47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 DD will assess design, yield, supplier contracts, risk allocation, pricing, program delivery. Docs to be reasonably mature draft at minimum to open Data room</a:t>
            </a:r>
          </a:p>
        </p:txBody>
      </p:sp>
      <p:sp>
        <p:nvSpPr>
          <p:cNvPr id="465" name="OTLSHAPE_SLT_fa8886b769a54c02817aaba54576e921_Shape">
            <a:extLst>
              <a:ext uri="{FF2B5EF4-FFF2-40B4-BE49-F238E27FC236}">
                <a16:creationId xmlns:a16="http://schemas.microsoft.com/office/drawing/2014/main" id="{23D38F7F-3695-F911-BC2E-76BFFC4674FA}"/>
              </a:ext>
            </a:extLst>
          </p:cNvPr>
          <p:cNvSpPr/>
          <p:nvPr>
            <p:custDataLst>
              <p:tags r:id="rId187"/>
            </p:custDataLst>
          </p:nvPr>
        </p:nvSpPr>
        <p:spPr>
          <a:xfrm>
            <a:off x="6446313" y="4630853"/>
            <a:ext cx="915630" cy="366940"/>
          </a:xfrm>
          <a:prstGeom prst="snip2DiagRect">
            <a:avLst>
              <a:gd name="adj1" fmla="val 100000"/>
              <a:gd name="adj2" fmla="val 16667"/>
            </a:avLst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4" name="OTLSHAPE_SLA_3ef8107866514941904e61ada6b41143_Title">
            <a:extLst>
              <a:ext uri="{FF2B5EF4-FFF2-40B4-BE49-F238E27FC236}">
                <a16:creationId xmlns:a16="http://schemas.microsoft.com/office/drawing/2014/main" id="{4BD86F0A-C2C1-9B0E-5AEF-388F594E16BD}"/>
              </a:ext>
            </a:extLst>
          </p:cNvPr>
          <p:cNvSpPr txBox="1"/>
          <p:nvPr>
            <p:custDataLst>
              <p:tags r:id="rId188"/>
            </p:custDataLst>
          </p:nvPr>
        </p:nvSpPr>
        <p:spPr>
          <a:xfrm>
            <a:off x="6579624" y="4624762"/>
            <a:ext cx="687744" cy="33855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-8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ta room Updated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C2AEE1AD-0DDC-B284-F6DB-D7EF9DC0E232}"/>
              </a:ext>
            </a:extLst>
          </p:cNvPr>
          <p:cNvSpPr txBox="1">
            <a:spLocks/>
          </p:cNvSpPr>
          <p:nvPr/>
        </p:nvSpPr>
        <p:spPr>
          <a:xfrm>
            <a:off x="-1" y="1"/>
            <a:ext cx="2885243" cy="25042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GB" altLang="en-US" sz="1100" cap="all" spc="10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Financing &amp; Due Diligence Proces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09563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>
            <a:extLst>
              <a:ext uri="{FF2B5EF4-FFF2-40B4-BE49-F238E27FC236}">
                <a16:creationId xmlns:a16="http://schemas.microsoft.com/office/drawing/2014/main" id="{828C5E2C-9E9D-3B00-10B9-05A98075A6C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055688" y="1570038"/>
            <a:ext cx="6840537" cy="1947862"/>
          </a:xfrm>
        </p:spPr>
        <p:txBody>
          <a:bodyPr/>
          <a:lstStyle/>
          <a:p>
            <a:r>
              <a:rPr lang="en-GB" altLang="en-US" dirty="0"/>
              <a:t>Thank you!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101BCC3D-1994-B233-0EEE-CCAEE3F3D2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688" y="4021678"/>
            <a:ext cx="5256212" cy="1948817"/>
          </a:xfrm>
        </p:spPr>
        <p:txBody>
          <a:bodyPr/>
          <a:lstStyle/>
          <a:p>
            <a:r>
              <a:rPr lang="nb-NO" dirty="0"/>
              <a:t>Gunnar Birkeland</a:t>
            </a:r>
          </a:p>
          <a:p>
            <a:r>
              <a:rPr lang="nb-NO" dirty="0"/>
              <a:t>CEO</a:t>
            </a:r>
          </a:p>
          <a:p>
            <a:r>
              <a:rPr lang="nb-NO" dirty="0"/>
              <a:t>Source Galileo Norge AS</a:t>
            </a:r>
          </a:p>
          <a:p>
            <a:endParaRPr lang="nb-NO" dirty="0"/>
          </a:p>
          <a:p>
            <a:r>
              <a:rPr lang="nb-NO" dirty="0"/>
              <a:t>+47 90981029</a:t>
            </a:r>
          </a:p>
          <a:p>
            <a:r>
              <a:rPr lang="nb-NO" dirty="0"/>
              <a:t>gunnar.birkeland@sourcegalileo.com</a:t>
            </a:r>
          </a:p>
        </p:txBody>
      </p:sp>
    </p:spTree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English U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yyyy/MMM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Q1 Review"/>
  <p:tag name="OTLPOSITIONONTASK" val="None"/>
  <p:tag name="OTLRELATEDTASKID" val="00000000-0000-0000-0000-000000000000"/>
  <p:tag name="OTLWEEKNUMBERINGFORMAT" val="WNFormat1"/>
  <p:tag name="OTLWEEKNUMBERINGISVISIBLE" val="False"/>
  <p:tag name="OTLDATE" val="2022-03-31T23:59:00.0000000"/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TIMEBANDSHAPEPADDINGTOP" val="7"/>
  <p:tag name="OTLTIMEBANDCULTUREINFO" val="en-US"/>
  <p:tag name="OTLTIMEBANDQUICKPOSITION" val="Custom"/>
  <p:tag name="OTLTIMEBANDTHREEDEFFECTS" val="None"/>
  <p:tag name="OTLTIMEBANDAUTODATERANGE" val="True"/>
  <p:tag name="OTLTIMEBANDSTARTDATE" val="0001-01-01T00:00:00.0000000"/>
  <p:tag name="OTLTIMEBANDWORKINGDAYS" val="Standard"/>
  <p:tag name="OTLTIMEBANDELAPSEDTIMEEXTENSION" val="False"/>
  <p:tag name="OTLTIMEBANDUSETIME" val="False"/>
  <p:tag name="OTLTIMEBANDTIMECONFIGWORKDAYSTART" val="00:00:00"/>
  <p:tag name="OTLTIMEBANDTIMECONFIGWORKDAYEND" val="23:59:00"/>
  <p:tag name="OTLTIMEBANDAPPENDYEARONYEARCHANGE" val="True"/>
  <p:tag name="OTLTIMEBANDSCALEMARKING" val="None"/>
  <p:tag name="OTLRIGHTENDCAPSMARGINRIGHT" val="25"/>
  <p:tag name="OTLLEFTENDCAPSMARGINLEFT" val="25"/>
  <p:tag name="OTLTIMEBANDFYSTARTMONTH" val="January"/>
  <p:tag name="OTLTIMEBANDSHOWFYLABEL" val="True"/>
  <p:tag name="OTLTIMEBANDUSESTARTINGOFTHEYEARFORFYNUMBERING" val="True"/>
  <p:tag name="OTLTIMEBANDRESERVEDLEFTAREAWIDTH" val="0"/>
  <p:tag name="OTLTIMEBANDRESERVEDLEFTAREAISSET" val="False"/>
  <p:tag name="OTLTIMEBANDSCALEFORMAT" val="MMM"/>
  <p:tag name="OTLTIMEBANDSCALETYPE" val="Quarters"/>
  <p:tag name="OTLTIMEBANDSHAPETYPE" val="RectangleTimeband"/>
  <p:tag name="OTLTIMEBANDSHAPEHEIGHT" val="30"/>
  <p:tag name="OTLTIMEBANDSHAPEPADDINGLEFT" val="0"/>
  <p:tag name="OTLTIMEBANDENDDATE" val="2022-12-25T03:44:00.0000000"/>
  <p:tag name="OTLMARKERSHAPE" val="OTL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yyyy/MMM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Q2 Review"/>
  <p:tag name="OTLPOSITIONONTASK" val="None"/>
  <p:tag name="OTLRELATEDTASKID" val="00000000-0000-0000-0000-000000000000"/>
  <p:tag name="OTLWEEKNUMBERINGFORMAT" val="WNFormat1"/>
  <p:tag name="OTLWEEKNUMBERINGISVISIBLE" val="False"/>
  <p:tag name="OTLDATE" val="2022-07-05T00:00:00.0000000"/>
  <p:tag name="OTLMARKERSHAPE" val="OTL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yyyy/MMM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Q3 Review"/>
  <p:tag name="OTLPOSITIONONTASK" val="None"/>
  <p:tag name="OTLRELATEDTASKID" val="00000000-0000-0000-0000-000000000000"/>
  <p:tag name="OTLWEEKNUMBERINGFORMAT" val="WNFormat1"/>
  <p:tag name="OTLWEEKNUMBERINGISVISIBLE" val="False"/>
  <p:tag name="OTLDATE" val="2022-09-27T23:59:00.0000000"/>
  <p:tag name="OTLMARKERSHAPE" val="OTL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yyyy/MMM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Q4 Review"/>
  <p:tag name="OTLPOSITIONONTASK" val="None"/>
  <p:tag name="OTLRELATEDTASKID" val="00000000-0000-0000-0000-000000000000"/>
  <p:tag name="OTLWEEKNUMBERINGFORMAT" val="WNFormat1"/>
  <p:tag name="OTLWEEKNUMBERINGISVISIBLE" val="False"/>
  <p:tag name="OTLDATE" val="2022-12-20T23:59:00.0000000"/>
  <p:tag name="OTLMARKERSHAPE" val="OTL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PERCENTAGE" val="75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8-03T00:00:00.0000000Z"/>
  <p:tag name="OTLENDDATE" val="2022-10-28T05:38:00.0000000Z"/>
  <p:tag name="OTLMARKERSHAPE" val="OTL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wk"/>
  <p:tag name="OTLSPACING" val="3"/>
  <p:tag name="OTLSHAPETHICKNESSTYPE" val="Thin"/>
  <p:tag name="OTLWEEKNUMBERINGFORMAT" val="WNFormat1"/>
  <p:tag name="OTLWEEKNUMBERINGISVISIBLE" val="False"/>
  <p:tag name="OTLSTARTDATE" val="2022-04-01T02:34:00.0000000Z"/>
  <p:tag name="OTLENDDATE" val="2022-09-01T22:08:00.0000000Z"/>
  <p:tag name="OTLMARKERSHAPE" val="OTL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wk"/>
  <p:tag name="OTLSPACING" val="3"/>
  <p:tag name="OTLSHAPETHICKNESSTYPE" val="Thin"/>
  <p:tag name="OTLWEEKNUMBERINGFORMAT" val="WNFormat1"/>
  <p:tag name="OTLWEEKNUMBERINGISVISIBLE" val="False"/>
  <p:tag name="OTLSTARTDATE" val="2022-04-01T02:34:00.0000000Z"/>
  <p:tag name="OTLENDDATE" val="2022-09-01T22:08:00.0000000Z"/>
  <p:tag name="OTLMARKERSHAPE" val="OTL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PERCENTAGE" val="100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1-28T00:00:00.0000000Z"/>
  <p:tag name="OTLENDDATE" val="2022-03-31T18:57:00.0000000Z"/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PERCENTAGE" val="100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1-02T00:00:00.0000000Z"/>
  <p:tag name="OTLENDDATE" val="2022-03-31T19:44:00.0000000Z"/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2-02T21:03:00.0000000Z"/>
  <p:tag name="OTLENDDATE" val="2022-04-07T20:59:00.0000000Z"/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6-05T23:51:00.0000000Z"/>
  <p:tag name="OTLENDDATE" val="2022-08-05T12:55:00.0000000Z"/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4-02T00:00:00.0000000Z"/>
  <p:tag name="OTLENDDATE" val="2022-06-10T23:59:00.0000000Z"/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7-07T00:00:00.0000000Z"/>
  <p:tag name="OTLENDDATE" val="2022-09-14T23:59:00.0000000Z"/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PERCENTAGE" val="75"/>
  <p:tag name="OTLDURATIONFORMAT" val="wk"/>
  <p:tag name="OTLSPACING" val="3"/>
  <p:tag name="OTLSHAPETHICKNESSTYPE" val="Thin"/>
  <p:tag name="OTLWEEKNUMBERINGFORMAT" val="WNFormat1"/>
  <p:tag name="OTLWEEKNUMBERINGISVISIBLE" val="False"/>
  <p:tag name="OTLSTARTDATE" val="2022-02-17T09:13:00.0000000Z"/>
  <p:tag name="OTLENDDATE" val="2022-03-31T20:01:00.0000000Z"/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wk"/>
  <p:tag name="OTLSPACING" val="3"/>
  <p:tag name="OTLSHAPETHICKNESSTYPE" val="Thin"/>
  <p:tag name="OTLWEEKNUMBERINGFORMAT" val="WNFormat1"/>
  <p:tag name="OTLWEEKNUMBERINGISVISIBLE" val="False"/>
  <p:tag name="OTLSTARTDATE" val="2022-09-01T14:52:00.0000000Z"/>
  <p:tag name="OTLENDDATE" val="2022-10-21T01:51:00.0000000Z"/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wk"/>
  <p:tag name="OTLSPACING" val="3"/>
  <p:tag name="OTLSHAPETHICKNESSTYPE" val="Thin"/>
  <p:tag name="OTLWEEKNUMBERINGFORMAT" val="WNFormat1"/>
  <p:tag name="OTLWEEKNUMBERINGISVISIBLE" val="False"/>
  <p:tag name="OTLSTARTDATE" val="2022-04-01T02:34:00.0000000Z"/>
  <p:tag name="OTLENDDATE" val="2022-09-01T22:08:00.0000000Z"/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10-21T01:55:00.0000000Z"/>
  <p:tag name="OTLENDDATE" val="2022-12-25T03:44:00.0000000Z"/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PERCENTAGE" val="75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6-04T00:00:00.0000000Z"/>
  <p:tag name="OTLENDDATE" val="2022-07-11T23:58:00.0000000Z"/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PERCENTAGE" val="75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8-03T00:00:00.0000000Z"/>
  <p:tag name="OTLENDDATE" val="2022-10-28T05:38:00.0000000Z"/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PERCENTAGE" val="75"/>
  <p:tag name="OTLDURATIONFORMAT" val="day"/>
  <p:tag name="OTLSPACING" val="3"/>
  <p:tag name="OTLSHAPETHICKNESSTYPE" val="Thin"/>
  <p:tag name="OTLWEEKNUMBERINGFORMAT" val="WNFormat1"/>
  <p:tag name="OTLWEEKNUMBERINGISVISIBLE" val="False"/>
  <p:tag name="OTLSTARTDATE" val="2022-07-13T22:25:00.0000000Z"/>
  <p:tag name="OTLENDDATE" val="2022-09-30T07:36:00.0000000Z"/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ELAPSEDSTYLE" val="Thin"/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Quality Metrics"/>
  <p:tag name="OTLPOSITIONONTASK" val="None"/>
  <p:tag name="OTLRELATEDTASKID" val="00000000-0000-0000-0000-000000000000"/>
  <p:tag name="OTLWEEKNUMBERINGFORMAT" val="WNFormat1"/>
  <p:tag name="OTLWEEKNUMBERINGISVISIBLE" val="False"/>
  <p:tag name="OTLDATE" val="2022-05-19T23:59:00.0000000"/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Service Metrics"/>
  <p:tag name="OTLPOSITIONONTASK" val="None"/>
  <p:tag name="OTLRELATEDTASKID" val="00000000-0000-0000-0000-000000000000"/>
  <p:tag name="OTLWEEKNUMBERINGFORMAT" val="WNFormat1"/>
  <p:tag name="OTLWEEKNUMBERINGISVISIBLE" val="False"/>
  <p:tag name="OTLDATE" val="2022-04-01T00:00:00.0000000"/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DATEFORMATSTRING" val="MMM d"/>
  <p:tag name="OTLDATEFORMATSEPARATOR" val="/"/>
  <p:tag name="OTLDATEFORMATUSEUS" val="True"/>
  <p:tag name="OTLDATEFORMATDATEISVISIBLE" val="True"/>
  <p:tag name="OTLDATEFORMATTIMEISVISIBLE" val="False"/>
  <p:tag name="OTLDATEFORMATAMPMDESIGNATOR" val="AmPmLowerCase"/>
  <p:tag name="OTLDATEFORMATHOURDIGITS" val="H"/>
  <p:tag name="OTLDATEFORMATTRIM00MINUTES" val="False"/>
  <p:tag name="OTLMTITLE" val="Service Dashboard"/>
  <p:tag name="OTLPOSITIONONTASK" val="None"/>
  <p:tag name="OTLRELATEDTASKID" val="00000000-0000-0000-0000-000000000000"/>
  <p:tag name="OTLWEEKNUMBERINGFORMAT" val="WNFormat1"/>
  <p:tag name="OTLWEEKNUMBERINGISVISIBLE" val="False"/>
  <p:tag name="OTLDATE" val="2022-08-10T23:59:00.0000000"/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MPORTABLE" val="True"/>
  <p:tag name="PS_COMPARE_SHAPE_ID" val="9962c8fd-894f-4747-8598-66955b31af5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IkaWQiOiIxIiwiX3N3aW1sYW5lc1YyIjpbeyIkaWQiOiIyIiwiX2FjdGl2aXRpZXMiOlt7IiRpZCI6IjMiLCJfcm93cyI6W3siJGlkIjoiNCIsIl90YXNrcyI6W3siJGlkIjoiNSIsIl9hdHRhY2hlZE1pbGVzdG9uZXMiOlt7IiRpZCI6IjYiLCJEYXRlIjoiMjAyMi0wMS0xNlQyMzo1OTowMCIsIlN0eWxlIjp7IiRpZCI6IjciLCJTaGFwZSI6MTQsIkNvbm5lY3Rvck1hcmdpbiI6eyIkaWQiOiI4IiwiVG9wIjowLjAsIkxlZnQiOjIuMCwiUmlnaHQiOjIuMCwiQm90dG9tIjowLjB9LCJDb25uZWN0b3JTdHlsZSI6eyIkaWQiOiI5IiwiTGluZUNvbG9yIjp7IiRpZCI6IjEwIiwiJHR5cGUiOiJOTFJFLkNvbW1vbi5Eb20uU29saWRDb2xvckJydXNoLCBOTFJFLkNvbW1vbiIsIkNvbG9yIjp7IiRpZCI6IjExIiwiQSI6MTI3LCJSIjoxMjcsIkciOjk2LCJCIjowfX0sIkxpbmVXZWlnaHQiOjEuMCwiTGluZVR5cGUiOjAsIlBhcmVudFN0eWxlIjpudWxsfSwiSXNCZWxvd1RpbWViYW5kIjp0cnVlLCJQb3NpdGlvbk9uVGFzayI6MywiSGlkZURhdGUiOmZhbHNlLCJTaGFwZVNpemUiOjEsIlNwYWNpbmciOjEuMCwiUGFkZGluZyI6eyIkaWQiOiIxMiIsIlRvcCI6Ny4wLCJMZWZ0IjozLjAsIlJpZ2h0IjowLjAsIkJvdHRvbSI6Mi4wfSwiU2hhcGVTdHlsZSI6eyIkaWQiOiIxMyIsIk1hcmdpbiI6eyIkaWQiOiIxNCIsIlRvcCI6MC4wLCJMZWZ0IjowLjAsIlJpZ2h0IjowLjAsIkJvdHRvbSI6MC4wfSwiUGFkZGluZyI6eyIkaWQiOiIxNSIsIlRvcCI6MC4wLCJMZWZ0IjowLjAsIlJpZ2h0IjowLjAsIkJvdHRvbSI6MC4wfSwiQmFja2dyb3VuZCI6eyIkaWQiOiIxNiIsIkNvbG9yIjp7IiRpZCI6IjE3IiwiQSI6MjU1LCJSIjoxMjcsIkciOjk2LCJCIjowfX0sIklzVmlzaWJsZSI6dHJ1ZSwiV2lkdGgiOjE4LjAsIkhlaWdodCI6MjAuMCwiQm9yZGVyU3R5bGUiOnsiJGlkIjoiMTgiLCJMaW5lQ29sb3IiOm51bGwsIkxpbmVXZWlnaHQiOjAuMCwiTGluZVR5cGUiOjAsIlBhcmVudFN0eWxlIjpudWxsfSwiUGFyZW50U3R5bGUiOm51bGx9LCJUaXRsZVN0eWxlIjp7IiRpZCI6IjE5IiwiRm9udFNldHRpbmdzIjp7IiRpZCI6IjIwIiwiRm9udFNpemUiOjExLCJGb250TmFtZSI6IkNhbGlicmkiLCJJc0JvbGQiOnRydWUsIklzSXRhbGljIjpmYWxzZSwiSXNVbmRlcmxpbmVkIjpmYWxzZSwiUGFyZW50U3R5bGUiOm51bGx9LCJBdXRvU2l6ZSI6MCwiRm9yZWdyb3VuZCI6eyIkaWQiOiIyMSIsIkNvbG9yIjp7IiRpZCI6IjIyIiwiQSI6MjU1LCJSIjowLCJHIjowLCJCIjowfX0sIk1heFdpZHRoIjoyMDAuMCwiTWF4SGVpZ2h0IjoiSW5maW5pdHkiLCJTbWFydEZvcmVncm91bmRJc0FjdGl2ZSI6ZmFsc2UsIkhvcml6b250YWxBbGlnbm1lbnQiOjIsIlZlcnRpY2FsQWxpZ25tZW50IjowLCJTbWFydEZvcmVncm91bmQiOm51bGwsIkJhY2tncm91bmRGaWxsVHlwZSI6MCwiTWFyZ2luIjp7IiRpZCI6IjIzIiwiVG9wIjowLjAsIkxlZnQiOjAuMCwiUmlnaHQiOjAuMCwiQm90dG9tIjowLjB9LCJQYWRkaW5nIjp7IiRpZCI6IjI0IiwiVG9wIjowLjAsIkxlZnQiOjAuMCwiUmlnaHQiOjAuMCwiQm90dG9tIjowLjB9LCJCYWNrZ3JvdW5kIjp7IiRpZCI6IjI1IiwiQ29sb3IiOnsiJGlkIjoiMjYiLCJBIjowLCJSIjoyNTUsIkciOjI1NSwiQiI6MjU1fX0sIklzVmlzaWJsZSI6ZmFsc2UsIldpZHRoIjowLjAsIkhlaWdodCI6MC4wLCJCb3JkZXJTdHlsZSI6eyIkaWQiOiIyNyIsIkxpbmVDb2xvciI6bnVsbCwiTGluZVdlaWdodCI6MC4wLCJMaW5lVHlwZSI6MCwiUGFyZW50U3R5bGUiOm51bGx9LCJQYXJlbnRTdHlsZSI6bnVsbH0sIkRhdGVTdHlsZSI6eyIkaWQiOiIyOCIsIkZvbnRTZXR0aW5ncyI6eyIkaWQiOiIyOSIsIkZvbnRTaXplIjoxMCwiRm9udE5hbWUiOiJDYWxpYnJpIiwiSXNCb2xkIjpmYWxzZSwiSXNJdGFsaWMiOmZhbHNlLCJJc1VuZGVybGluZWQiOmZhbHNlLCJQYXJlbnRTdHlsZSI6bnVsbH0sIkF1dG9TaXplIjowLCJGb3JlZ3JvdW5kIjp7IiRpZCI6IjMwIiwiQ29sb3IiOnsiJGlkIjoiMzEiLCJBIjoyNTUsIlIiOjY4LCJHIjo4NCwiQiI6MTA2fX0sIk1heFdpZHRoIjoyMDAuMCwiTWF4SGVpZ2h0IjoiSW5maW5pdHkiLCJTbWFydEZvcmVncm91bmRJc0FjdGl2ZSI6ZmFsc2UsIkhvcml6b250YWxBbGlnbm1lbnQiOjIsIlZlcnRpY2FsQWxpZ25tZW50IjowLCJTbWFydEZvcmVncm91bmQiOm51bGwsIkJhY2tncm91bmRGaWxsVHlwZSI6MCwiTWFyZ2luIjp7IiRpZCI6IjMyIiwiVG9wIjowLjAsIkxlZnQiOjAuMCwiUmlnaHQiOjAuMCwiQm90dG9tIjowLjB9LCJQYWRkaW5nIjp7IiRpZCI6IjMzIiwiVG9wIjowLjAsIkxlZnQiOjAuMCwiUmlnaHQiOjAuMCwiQm90dG9tIjowLjB9LCJCYWNrZ3JvdW5kIjp7IiRpZCI6IjM0IiwiQ29sb3IiOnsiJGlkIjoiMzUiLCJBIjowLCJSIjoyNTUsIkciOjI1NSwiQiI6MjU1fX0sIklzVmlzaWJsZSI6ZmFsc2UsIldpZHRoIjowLjAsIkhlaWdodCI6MC4wLCJCb3JkZXJTdHlsZSI6eyIkaWQiOiIzNiIsIkxpbmVDb2xvciI6bnVsbCwiTGluZVdlaWdodCI6MC4wLCJMaW5lVHlwZSI6MCwiUGFyZW50U3R5bGUiOm51bGx9LCJQYXJlbnRTdHlsZSI6bnVsbH0sIkRhdGVGb3JtYXQiOnsiJGlkIjoiMzc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MzgiLCJGb3JtYXQiOjAsIklzVmlzaWJsZSI6ZmFsc2UsIkxhc3RLbm93blZpc2liaWxpdHlTdGF0ZSI6ZmFsc2V9LCJJc1Zpc2libGUiOnRydWUsIlBhcmVudFN0eWxlIjpudWxsfSwiSW5kZXgiOjUsIlBlcmNlbnRhZ2VDb21wbGV0ZSI6bnVsbCwiUG9zaXRpb24iOnsiUmF0aW8iOjAuMCwiSXNDdXN0b20iOmZhbHNlfSwiRGF0ZUZvcm1hdCI6eyIkcmVmIjoiMzcifSwiV2Vla051bWJlcmluZyI6eyIkaWQiOiIzOSIsIkZvcm1hdCI6MCwiSXNWaXNpYmxlIjpmYWxzZSwiTGFzdEtub3duVmlzaWJpbGl0eVN0YXRlIjpmYWxzZX0sIlJlbGF0ZWRUYXNrSWQiOiIxZjNlY2RiNS0yMzIxLTRkMWMtODU4YS1iOGZiMTIzOTJhMTMiLCJJZCI6Ijk2NmFjOGUzLThkOTctNGJmZS1hZTIzLTg5MGExMjZiMmE3OSIsIkltcG9ydElkIjpudWxsLCJUaXRsZSI6IktpY2tvZmYgTWVldGluZyIsIk5vdGUiOm51bGwsIkh5cGVybGluayI6eyIkaWQiOiI0MCIsIkFkZHJlc3MiOiIiLCJTdWJBZGRyZXNzIjoiIn0sIklzQ2hhbmdlZCI6ZmFsc2UsIklzTmV3IjpmYWxzZX1dLCJUYXNrRGVmaW5pdGlvbiI6eyIkaWQiOiI0MSIsIkdyb3VwTmFtZSI6bnVsbCwiU3RhcnREYXRlIjoiMjAyMi0wMS0wMlQwMDowMDowMFoiLCJFbmREYXRlIjoiMjAyMi0wMy0zMVQxOTo0NDowMFoiLCJQZXJjZW50YWdlQ29tcGxldGUiOjEwMC4wLCJTdHlsZSI6eyIkaWQiOiI0MiIsIlNoYXBlIjo3LCJTaGFwZVRoaWNrbmVzcyI6MCwiRHVyYXRpb25Gb3JtYXQiOjAsIkluY2x1ZGVOb25Xb3JraW5nRGF5c0luRHVyYXRpb24iOmZhbHNlLCJQZXJjZW50YWdlQ29tcGxldGVTdHlsZSI6eyIkaWQiOiI0MyIsIkZvbnRTZXR0aW5ncyI6eyIkaWQiOiI0NCIsIkZvbnRTaXplIjoxMCwiRm9udE5hbWUiOiJDYWxpYnJpIiwiSXNCb2xkIjp0cnVlLCJJc0l0YWxpYyI6ZmFsc2UsIklzVW5kZXJsaW5lZCI6ZmFsc2UsIlBhcmVudFN0eWxlIjpudWxsfSwiQXV0b1NpemUiOjAsIkZvcmVncm91bmQiOnsiJGlkIjoiNDUiLCJDb2xvciI6eyIkaWQiOiI0NiIsIkEiOjI1NSwiUiI6MTI3LCJHIjo5NiwiQiI6MH19LCJNYXhXaWR0aCI6MjAwLjAsIk1heEhlaWdodCI6IkluZmluaXR5IiwiU21hcnRGb3JlZ3JvdW5kSXNBY3RpdmUiOmZhbHNlLCJIb3Jpem9udGFsQWxpZ25tZW50IjowLCJWZXJ0aWNhbEFsaWdubWVudCI6MCwiU21hcnRGb3JlZ3JvdW5kIjpudWxsLCJCYWNrZ3JvdW5kRmlsbFR5cGUiOjAsIk1hcmdpbiI6eyIkaWQiOiI0NyIsIlRvcCI6MC4wLCJMZWZ0IjowLjAsIlJpZ2h0IjowLjAsIkJvdHRvbSI6MC4wfSwiUGFkZGluZyI6eyIkaWQiOiI0OCIsIlRvcCI6MC4wLCJMZWZ0IjowLjAsIlJpZ2h0IjowLjAsIkJvdHRvbSI6MC4wfSwiQmFja2dyb3VuZCI6eyIkaWQiOiI0OSIsIkNvbG9yIjp7IiRpZCI6IjUwIiwiQSI6ODksIlIiOjAsIkciOjAsIkIiOjB9fSwiSXNWaXNpYmxlIjp0cnVlLCJXaWR0aCI6MC4wLCJIZWlnaHQiOjAuMCwiQm9yZGVyU3R5bGUiOnsiJGlkIjoiNTEiLCJMaW5lQ29sb3IiOm51bGwsIkxpbmVXZWlnaHQiOjAuMCwiTGluZVR5cGUiOjAsIlBhcmVudFN0eWxlIjpudWxsfSwiUGFyZW50U3R5bGUiOm51bGx9LCJEdXJhdGlvblN0eWxlIjp7IiRpZCI6IjUyIiwiRm9udFNldHRpbmdzIjp7IiRpZCI6IjUzIiwiRm9udFNpemUiOjEwLCJGb250TmFtZSI6IkNhbGlicmkiLCJJc0JvbGQiOmZhbHNlLCJJc0l0YWxpYyI6ZmFsc2UsIklzVW5kZXJsaW5lZCI6ZmFsc2UsIlBhcmVudFN0eWxlIjpudWxsfSwiQXV0b1NpemUiOjAsIkZvcmVncm91bmQiOnsiJGlkIjoiNTQiLCJDb2xvciI6eyIkaWQiOiI1NS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U2IiwiVG9wIjowLjAsIkxlZnQiOjAuMCwiUmlnaHQiOjAuMCwiQm90dG9tIjowLjB9LCJQYWRkaW5nIjp7IiRpZCI6IjU3IiwiVG9wIjowLjAsIkxlZnQiOjAuMCwiUmlnaHQiOjAuMCwiQm90dG9tIjowLjB9LCJCYWNrZ3JvdW5kIjp7IiRpZCI6IjU4IiwiQ29sb3IiOnsiJGlkIjoiNTkiLCJBIjo4OSwiUiI6MCwiRyI6MCwiQiI6MH19LCJJc1Zpc2libGUiOnRydWUsIldpZHRoIjowLjAsIkhlaWdodCI6MC4wLCJCb3JkZXJTdHlsZSI6eyIkaWQiOiI2MCIsIkxpbmVDb2xvciI6bnVsbCwiTGluZVdlaWdodCI6MC4wLCJMaW5lVHlwZSI6MCwiUGFyZW50U3R5bGUiOm51bGx9LCJQYXJlbnRTdHlsZSI6bnVsbH0sIkhvcml6b250YWxDb25uZWN0b3JTdHlsZSI6eyIkaWQiOiI2MSIsIkxpbmVDb2xvciI6eyIkaWQiOiI2MiIsIiR0eXBlIjoiTkxSRS5Db21tb24uRG9tLlNvbGlkQ29sb3JCcnVzaCwgTkxSRS5Db21tb24iLCJDb2xvciI6eyIkaWQiOiI2MyIsIkEiOjI1NSwiUiI6MjA0LCJHIjoyMDQsIkIiOjIwNH19LCJMaW5lV2VpZ2h0IjoxLjAsIkxpbmVUeXBlIjowLCJQYXJlbnRTdHlsZSI6bnVsbH0sIlZlcnRpY2FsQ29ubmVjdG9yU3R5bGUiOnsiJGlkIjoiNjQiLCJMaW5lQ29sb3IiOnsiJGlkIjoiNjUiLCIkdHlwZSI6Ik5MUkUuQ29tbW9uLkRvbS5Tb2xpZENvbG9yQnJ1c2gsIE5MUkUuQ29tbW9uIiwiQ29sb3IiOnsiJGlkIjoiNjYiLCJBIjoyNTUsIlIiOjIwNCwiRyI6MjA0LCJCIjoyMDR9fSwiTGluZVdlaWdodCI6MC4wLCJMaW5lVHlwZSI6MCwiUGFyZW50U3R5bGUiOm51bGx9LCJNYXJnaW4iOm51bGwsIlN0YXJ0RGF0ZVBvc2l0aW9uIjo2LCJFbmREYXRlUG9zaXRpb24iOjYsIkRhdGVJc1Zpc2libGUiOmZhbHNlLCJUaXRsZVBvc2l0aW9uIjoyLCJEdXJhdGlvblBvc2l0aW9uIjo2LCJQZXJjZW50YWdlQ29tcGxldGVkUG9zaXRpb24iOjQsIlNwYWNpbmciOjMsIklzQmVsb3dUaW1lYmFuZCI6dHJ1ZSwiUGVyY2VudGFnZUNvbXBsZXRlU2hhcGVPcGFjaXR5IjozNSwiU2hhcGVTdHlsZSI6eyIkaWQiOiI2NyIsIk1hcmdpbiI6eyIkaWQiOiI2OCIsIlRvcCI6MC4wLCJMZWZ0Ijo0LjAsIlJpZ2h0Ijo0LjAsIkJvdHRvbSI6MC4wfSwiUGFkZGluZyI6eyIkaWQiOiI2OSIsIlRvcCI6MC4wLCJMZWZ0IjowLjAsIlJpZ2h0IjowLjAsIkJvdHRvbSI6MC4wfSwiQmFja2dyb3VuZCI6eyIkaWQiOiI3MCIsIkNvbG9yIjp7IiRpZCI6IjcxIiwiQSI6MjU1LCJSIjoyNTUsIkciOjE5MiwiQiI6MH19LCJJc1Zpc2libGUiOnRydWUsIldpZHRoIjowLjAsIkhlaWdodCI6MTAuMCwiQm9yZGVyU3R5bGUiOnsiJGlkIjoiNzIiLCJMaW5lQ29sb3IiOnsiJGlkIjoiNzMiLCIkdHlwZSI6Ik5MUkUuQ29tbW9uLkRvbS5Tb2xpZENvbG9yQnJ1c2gsIE5MUkUuQ29tbW9uIiwiQ29sb3IiOnsiJGlkIjoiNzQiLCJBIjoyNTUsIlIiOjI1NSwiRyI6MCwiQiI6MH19LCJMaW5lV2VpZ2h0IjowLjAsIkxpbmVUeXBlIjowLCJQYXJlbnRTdHlsZSI6bnVsbH0sIlBhcmVudFN0eWxlIjpudWxsfSwiVGl0bGVTdHlsZSI6eyIkaWQiOiI3NSIsIkZvbnRTZXR0aW5ncyI6eyIkaWQiOiI3NiIsIkZvbnRTaXplIjoxMSwiRm9udE5hbWUiOiJDYWxpYnJpIiwiSXNCb2xkIjp0cnVlLCJJc0l0YWxpYyI6ZmFsc2UsIklzVW5kZXJsaW5lZCI6ZmFsc2UsIlBhcmVudFN0eWxlIjpudWxsfSwiQXV0b1NpemUiOjAsIkZvcmVncm91bmQiOnsiJGlkIjoiNzciLCJDb2xvciI6eyIkaWQiOiI3OCIsIkEiOjI1NSwiUiI6MCwiRyI6MCwiQiI6MH19LCJNYXhXaWR0aCI6OTYwLjAsIk1heEhlaWdodCI6IkluZmluaXR5IiwiU21hcnRGb3JlZ3JvdW5kSXNBY3RpdmUiOmZhbHNlLCJIb3Jpem9udGFsQWxpZ25tZW50IjoxLCJWZXJ0aWNhbEFsaWdubWVudCI6MCwiU21hcnRGb3JlZ3JvdW5kIjpudWxsLCJCYWNrZ3JvdW5kRmlsbFR5cGUiOjAsIk1hcmdpbiI6eyIkaWQiOiI3OSIsIlRvcCI6MC4wLCJMZWZ0IjowLjAsIlJpZ2h0IjowLjAsIkJvdHRvbSI6MC4wfSwiUGFkZGluZyI6eyIkaWQiOiI4MCIsIlRvcCI6MC4wLCJMZWZ0IjowLjAsIlJpZ2h0IjowLjAsIkJvdHRvbSI6MC4wfSwiQmFja2dyb3VuZCI6eyIkaWQiOiI4MSIsIkNvbG9yIjp7IiRpZCI6IjgyIiwiQSI6MCwiUiI6MjU1LCJHIjoyNTUsIkIiOjI1NX19LCJJc1Zpc2libGUiOnRydWUsIldpZHRoIjowLjAsIkhlaWdodCI6MC4wLCJCb3JkZXJTdHlsZSI6eyIkaWQiOiI4MyIsIkxpbmVDb2xvciI6bnVsbCwiTGluZVdlaWdodCI6MC4wLCJMaW5lVHlwZSI6MCwiUGFyZW50U3R5bGUiOm51bGx9LCJQYXJlbnRTdHlsZSI6bnVsbH0sIkRhdGVTdHlsZSI6eyIkaWQiOiI4NCIsIkZvbnRTZXR0aW5ncyI6eyIkaWQiOiI4NSIsIkZvbnRTaXplIjoxMCwiRm9udE5hbWUiOiJDYWxpYnJpIiwiSXNCb2xkIjpmYWxzZSwiSXNJdGFsaWMiOmZhbHNlLCJJc1VuZGVybGluZWQiOmZhbHNlLCJQYXJlbnRTdHlsZSI6bnVsbH0sIkF1dG9TaXplIjowLCJGb3JlZ3JvdW5kIjp7IiRpZCI6Ijg2IiwiQ29sb3IiOnsiJGlkIjoiODciLCJBIjoyNTUsIlIiOjY4LCJHIjo4NCwiQiI6MTA2fX0sIk1heFdpZHRoIjoyMDAuMCwiTWF4SGVpZ2h0IjoiSW5maW5pdHkiLCJTbWFydEZvcmVncm91bmRJc0FjdGl2ZSI6ZmFsc2UsIkhvcml6b250YWxBbGlnbm1lbnQiOjIsIlZlcnRpY2FsQWxpZ25tZW50IjowLCJTbWFydEZvcmVncm91bmQiOm51bGwsIkJhY2tncm91bmRGaWxsVHlwZSI6MCwiTWFyZ2luIjp7IiRpZCI6Ijg4IiwiVG9wIjowLjAsIkxlZnQiOjAuMCwiUmlnaHQiOjAuMCwiQm90dG9tIjowLjB9LCJQYWRkaW5nIjp7IiRpZCI6Ijg5IiwiVG9wIjowLjAsIkxlZnQiOjAuMCwiUmlnaHQiOjAuMCwiQm90dG9tIjowLjB9LCJCYWNrZ3JvdW5kIjp7IiRpZCI6IjkwIiwiQ29sb3IiOnsiJHJlZiI6IjU5In19LCJJc1Zpc2libGUiOnRydWUsIldpZHRoIjowLjAsIkhlaWdodCI6MC4wLCJCb3JkZXJTdHlsZSI6eyIkaWQiOiI5MSIsIkxpbmVDb2xvciI6bnVsbCwiTGluZVdlaWdodCI6MC4wLCJMaW5lVHlwZSI6MCwiUGFyZW50U3R5bGUiOm51bGx9LCJQYXJlbnRTdHlsZSI6bnVsbH0sIkRhdGVGb3JtYXQiOnsiJGlkIjoiOTI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OTMiLCJGb3JtYXQiOjAsIklzVmlzaWJsZSI6ZmFsc2UsIkxhc3RLbm93blZpc2liaWxpdHlTdGF0ZSI6ZmFsc2V9LCJJc1Zpc2libGUiOnRydWUsIlBhcmVudFN0eWxlIjpudWxsfSwiSW5kZXgiOjQsIlNtYXJ0RHVyYXRpb25BY3RpdmF0ZWQiOmZhbHNlLCJEYXRlRm9ybWF0Ijp7IiRyZWYiOiI5MiJ9LCJXZWVrTnVtYmVyaW5nIjp7IiRpZCI6Ijk0IiwiRm9ybWF0IjowLCJJc1Zpc2libGUiOmZhbHNlLCJMYXN0S25vd25WaXNpYmlsaXR5U3RhdGUiOmZhbHNlfSwiSWQiOiIxZjNlY2RiNS0yMzIxLTRkMWMtODU4YS1iOGZiMTIzOTJhMTMiLCJJbXBvcnRJZCI6bnVsbCwiVGl0bGUiOiJWaXNpb24iLCJOb3RlIjpudWxsLCJIeXBlcmxpbmsiOnsiJGlkIjoiOTUiLCJBZGRyZXNzIjoiIiwiU3ViQWRkcmVzcyI6IiJ9LCJJc0NoYW5nZWQiOmZhbHNlLCJJc05ldyI6ZmFsc2V9fV0sIl9taWxlc3RvbmVzIjpbXSwiSWQiOiIwMDAwMDAwMC0wMDAwLTAwMDAtMDAwMC0wMDAwMDAwMDAwMDAiLCJJc1NpbmdsZUl0ZW1Sb3ciOnRydWV9LHsiJGlkIjoiOTYiLCJfdGFza3MiOlt7IiRpZCI6Ijk3IiwiX2F0dGFjaGVkTWlsZXN0b25lcyI6W10sIlRhc2tEZWZpbml0aW9uIjp7IiRpZCI6Ijk4IiwiR3JvdXBOYW1lIjpudWxsLCJTdGFydERhdGUiOiIyMDIyLTAxLTI4VDAwOjAwOjAwWiIsIkVuZERhdGUiOiIyMDIyLTAzLTMxVDE4OjU3OjAwWiIsIlBlcmNlbnRhZ2VDb21wbGV0ZSI6MTAwLjAsIlN0eWxlIjp7IiRpZCI6Ijk5IiwiU2hhcGUiOjcsIlNoYXBlVGhpY2tuZXNzIjowLCJEdXJhdGlvbkZvcm1hdCI6MCwiSW5jbHVkZU5vbldvcmtpbmdEYXlzSW5EdXJhdGlvbiI6ZmFsc2UsIlBlcmNlbnRhZ2VDb21wbGV0ZVN0eWxlIjp7IiRpZCI6IjEwMCIsIkZvbnRTZXR0aW5ncyI6eyIkaWQiOiIxMDEiLCJGb250U2l6ZSI6MTAsIkZvbnROYW1lIjoiQ2FsaWJyaSIsIklzQm9sZCI6dHJ1ZSwiSXNJdGFsaWMiOmZhbHNlLCJJc1VuZGVybGluZWQiOmZhbHNlLCJQYXJlbnRTdHlsZSI6bnVsbH0sIkF1dG9TaXplIjowLCJGb3JlZ3JvdW5kIjp7IiRpZCI6IjEwMiIsIkNvbG9yIjp7IiRpZCI6IjEwMyIsIkEiOjI1NSwiUiI6MTI3LCJHIjo5NiwiQiI6MH19LCJNYXhXaWR0aCI6MjAwLjAsIk1heEhlaWdodCI6IkluZmluaXR5IiwiU21hcnRGb3JlZ3JvdW5kSXNBY3RpdmUiOmZhbHNlLCJIb3Jpem9udGFsQWxpZ25tZW50IjowLCJWZXJ0aWNhbEFsaWdubWVudCI6MCwiU21hcnRGb3JlZ3JvdW5kIjpudWxsLCJCYWNrZ3JvdW5kRmlsbFR5cGUiOjAsIk1hcmdpbiI6eyIkaWQiOiIxMDQiLCJUb3AiOjAuMCwiTGVmdCI6MC4wLCJSaWdodCI6MC4wLCJCb3R0b20iOjAuMH0sIlBhZGRpbmciOnsiJGlkIjoiMTA1IiwiVG9wIjowLjAsIkxlZnQiOjAuMCwiUmlnaHQiOjAuMCwiQm90dG9tIjowLjB9LCJCYWNrZ3JvdW5kIjp7IiRpZCI6IjEwNiIsIkNvbG9yIjp7IiRyZWYiOiI1MCJ9fSwiSXNWaXNpYmxlIjp0cnVlLCJXaWR0aCI6MC4wLCJIZWlnaHQiOjAuMCwiQm9yZGVyU3R5bGUiOnsiJGlkIjoiMTA3IiwiTGluZUNvbG9yIjpudWxsLCJMaW5lV2VpZ2h0IjowLjAsIkxpbmVUeXBlIjowLCJQYXJlbnRTdHlsZSI6bnVsbH0sIlBhcmVudFN0eWxlIjpudWxsfSwiRHVyYXRpb25TdHlsZSI6eyIkaWQiOiIxMDgiLCJGb250U2V0dGluZ3MiOnsiJGlkIjoiMTA5IiwiRm9udFNpemUiOjEwLCJGb250TmFtZSI6IkNhbGlicmkiLCJJc0JvbGQiOmZhbHNlLCJJc0l0YWxpYyI6ZmFsc2UsIklzVW5kZXJsaW5lZCI6ZmFsc2UsIlBhcmVudFN0eWxlIjpudWxsfSwiQXV0b1NpemUiOjAsIkZvcmVncm91bmQiOnsiJGlkIjoiMTEwIiwiQ29sb3IiOnsiJHJlZiI6IjU1In19LCJNYXhXaWR0aCI6MjAwLjAsIk1heEhlaWdodCI6IkluZmluaXR5IiwiU21hcnRGb3JlZ3JvdW5kSXNBY3RpdmUiOmZhbHNlLCJIb3Jpem9udGFsQWxpZ25tZW50IjowLCJWZXJ0aWNhbEFsaWdubWVudCI6MCwiU21hcnRGb3JlZ3JvdW5kIjpudWxsLCJCYWNrZ3JvdW5kRmlsbFR5cGUiOjAsIk1hcmdpbiI6eyIkaWQiOiIxMTEiLCJUb3AiOjAuMCwiTGVmdCI6MC4wLCJSaWdodCI6MC4wLCJCb3R0b20iOjAuMH0sIlBhZGRpbmciOnsiJGlkIjoiMTEyIiwiVG9wIjowLjAsIkxlZnQiOjAuMCwiUmlnaHQiOjAuMCwiQm90dG9tIjowLjB9LCJCYWNrZ3JvdW5kIjp7IiRyZWYiOiI1OCJ9LCJJc1Zpc2libGUiOnRydWUsIldpZHRoIjowLjAsIkhlaWdodCI6MC4wLCJCb3JkZXJTdHlsZSI6eyIkaWQiOiIxMTMiLCJMaW5lQ29sb3IiOm51bGwsIkxpbmVXZWlnaHQiOjAuMCwiTGluZVR5cGUiOjAsIlBhcmVudFN0eWxlIjpudWxsfSwiUGFyZW50U3R5bGUiOm51bGx9LCJIb3Jpem9udGFsQ29ubmVjdG9yU3R5bGUiOnsiJGlkIjoiMTE0IiwiTGluZUNvbG9yIjp7IiRyZWYiOiI2MiJ9LCJMaW5lV2VpZ2h0IjoxLjAsIkxpbmVUeXBlIjowLCJQYXJlbnRTdHlsZSI6bnVsbH0sIlZlcnRpY2FsQ29ubmVjdG9yU3R5bGUiOnsiJGlkIjoiMTE1IiwiTGluZUNvbG9yIjp7IiRyZWYiOiI2NSJ9LCJMaW5lV2VpZ2h0IjowLjAsIkxpbmVUeXBlIjowLCJQYXJlbnRTdHlsZSI6bnVsbH0sIk1hcmdpbiI6bnVsbCwiU3RhcnREYXRlUG9zaXRpb24iOjYsIkVuZERhdGVQb3NpdGlvbiI6NiwiRGF0ZUlzVmlzaWJsZSI6ZmFsc2UsIlRpdGxlUG9zaXRpb24iOjIsIkR1cmF0aW9uUG9zaXRpb24iOjYsIlBlcmNlbnRhZ2VDb21wbGV0ZWRQb3NpdGlvbiI6NCwiU3BhY2luZyI6MywiSXNCZWxvd1RpbWViYW5kIjp0cnVlLCJQZXJjZW50YWdlQ29tcGxldGVTaGFwZU9wYWNpdHkiOjM1LCJTaGFwZVN0eWxlIjp7IiRpZCI6IjExNiIsIk1hcmdpbiI6eyIkaWQiOiIxMTciLCJUb3AiOjAuMCwiTGVmdCI6NC4wLCJSaWdodCI6NC4wLCJCb3R0b20iOjAuMH0sIlBhZGRpbmciOnsiJGlkIjoiMTE4IiwiVG9wIjowLjAsIkxlZnQiOjAuMCwiUmlnaHQiOjAuMCwiQm90dG9tIjowLjB9LCJCYWNrZ3JvdW5kIjp7IiRpZCI6IjExOSIsIkNvbG9yIjp7IiRpZCI6IjEyMCIsIkEiOjI1NSwiUiI6MjU1LCJHIjoxOTIsIkIiOjB9fSwiSXNWaXNpYmxlIjp0cnVlLCJXaWR0aCI6MC4wLCJIZWlnaHQiOjEwLjAsIkJvcmRlclN0eWxlIjp7IiRpZCI6IjEyMSIsIkxpbmVDb2xvciI6eyIkaWQiOiIxMjIiLCIkdHlwZSI6Ik5MUkUuQ29tbW9uLkRvbS5Tb2xpZENvbG9yQnJ1c2gsIE5MUkUuQ29tbW9uIiwiQ29sb3IiOnsiJGlkIjoiMTIzIiwiQSI6MjU1LCJSIjoyNTUsIkciOjAsIkIiOjB9fSwiTGluZVdlaWdodCI6MC4wLCJMaW5lVHlwZSI6MCwiUGFyZW50U3R5bGUiOm51bGx9LCJQYXJlbnRTdHlsZSI6bnVsbH0sIlRpdGxlU3R5bGUiOnsiJGlkIjoiMTI0IiwiRm9udFNldHRpbmdzIjp7IiRpZCI6IjEyNSIsIkZvbnRTaXplIjoxMSwiRm9udE5hbWUiOiJDYWxpYnJpIiwiSXNCb2xkIjp0cnVlLCJJc0l0YWxpYyI6ZmFsc2UsIklzVW5kZXJsaW5lZCI6ZmFsc2UsIlBhcmVudFN0eWxlIjpudWxsfSwiQXV0b1NpemUiOjIsIkZvcmVncm91bmQiOnsiJGlkIjoiMTI2IiwiQ29sb3IiOnsiJGlkIjoiMTI3IiwiQSI6MjU1LCJSIjowLCJHIjowLCJCIjowfX0sIk1heFdpZHRoIjo0Ny43NjAwMDAwMDAwMDAwMDUsIk1heEhlaWdodCI6IkluZmluaXR5IiwiU21hcnRGb3JlZ3JvdW5kSXNBY3RpdmUiOmZhbHNlLCJIb3Jpem9udGFsQWxpZ25tZW50IjoxLCJWZXJ0aWNhbEFsaWdubWVudCI6MCwiU21hcnRGb3JlZ3JvdW5kIjpudWxsLCJCYWNrZ3JvdW5kRmlsbFR5cGUiOjAsIk1hcmdpbiI6eyIkaWQiOiIxMjgiLCJUb3AiOjAuMCwiTGVmdCI6MC4wLCJSaWdodCI6MC4wLCJCb3R0b20iOjAuMH0sIlBhZGRpbmciOnsiJGlkIjoiMTI5IiwiVG9wIjowLjAsIkxlZnQiOjAuMCwiUmlnaHQiOjAuMCwiQm90dG9tIjowLjB9LCJCYWNrZ3JvdW5kIjp7IiRpZCI6IjEzMCIsIkNvbG9yIjp7IiRpZCI6IjEzMSIsIkEiOjAsIlIiOjI1NSwiRyI6MjU1LCJCIjoyNTV9fSwiSXNWaXNpYmxlIjp0cnVlLCJXaWR0aCI6MC4wLCJIZWlnaHQiOjAuMCwiQm9yZGVyU3R5bGUiOnsiJGlkIjoiMTMyIiwiTGluZUNvbG9yIjpudWxsLCJMaW5lV2VpZ2h0IjowLjAsIkxpbmVUeXBlIjowLCJQYXJlbnRTdHlsZSI6bnVsbH0sIlBhcmVudFN0eWxlIjpudWxsfSwiRGF0ZVN0eWxlIjp7IiRpZCI6IjEzMyIsIkZvbnRTZXR0aW5ncyI6eyIkaWQiOiIxMzQiLCJGb250U2l6ZSI6MTAsIkZvbnROYW1lIjoiQ2FsaWJyaSIsIklzQm9sZCI6ZmFsc2UsIklzSXRhbGljIjpmYWxzZSwiSXNVbmRlcmxpbmVkIjpmYWxzZSwiUGFyZW50U3R5bGUiOm51bGx9LCJBdXRvU2l6ZSI6MCwiRm9yZWdyb3VuZCI6eyIkcmVmIjoiODYifSwiTWF4V2lkdGgiOjIwMC4wLCJNYXhIZWlnaHQiOiJJbmZpbml0eSIsIlNtYXJ0Rm9yZWdyb3VuZElzQWN0aXZlIjpmYWxzZSwiSG9yaXpvbnRhbEFsaWdubWVudCI6MiwiVmVydGljYWxBbGlnbm1lbnQiOjAsIlNtYXJ0Rm9yZWdyb3VuZCI6bnVsbCwiQmFja2dyb3VuZEZpbGxUeXBlIjowLCJNYXJnaW4iOnsiJGlkIjoiMTM1IiwiVG9wIjowLjAsIkxlZnQiOjAuMCwiUmlnaHQiOjAuMCwiQm90dG9tIjowLjB9LCJQYWRkaW5nIjp7IiRpZCI6IjEzNiIsIlRvcCI6MC4wLCJMZWZ0IjowLjAsIlJpZ2h0IjowLjAsIkJvdHRvbSI6MC4wfSwiQmFja2dyb3VuZCI6eyIkcmVmIjoiOTAifSwiSXNWaXNpYmxlIjp0cnVlLCJXaWR0aCI6MC4wLCJIZWlnaHQiOjAuMCwiQm9yZGVyU3R5bGUiOnsiJGlkIjoiMTM3IiwiTGluZUNvbG9yIjpudWxsLCJMaW5lV2VpZ2h0IjowLjAsIkxpbmVUeXBlIjowLCJQYXJlbnRTdHlsZSI6bnVsbH0sIlBhcmVudFN0eWxlIjpudWxsfSwiRGF0ZUZvcm1hdCI6eyIkaWQiOiIxMzg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MTM5IiwiRm9ybWF0IjowLCJJc1Zpc2libGUiOmZhbHNlLCJMYXN0S25vd25WaXNpYmlsaXR5U3RhdGUiOmZhbHNlfSwiSXNWaXNpYmxlIjp0cnVlLCJQYXJlbnRTdHlsZSI6bnVsbH0sIkluZGV4Ijo2LCJTbWFydER1cmF0aW9uQWN0aXZhdGVkIjpmYWxzZSwiRGF0ZUZvcm1hdCI6eyIkcmVmIjoiMTM4In0sIldlZWtOdW1iZXJpbmciOnsiJGlkIjoiMTQwIiwiRm9ybWF0IjowLCJJc1Zpc2libGUiOmZhbHNlLCJMYXN0S25vd25WaXNpYmlsaXR5U3RhdGUiOmZhbHNlfSwiSWQiOiJiZjBiYWI0ZS05OGY1LTQ3NjMtYTgyNS02OGE1ZDIxOWE1YzciLCJJbXBvcnRJZCI6bnVsbCwiVGl0bGUiOiJPYmplY3RpdmVzIiwiTm90ZSI6bnVsbCwiSHlwZXJsaW5rIjp7IiRpZCI6IjE0MSIsIkFkZHJlc3MiOiIiLCJTdWJBZGRyZXNzIjoiIn0sIklzQ2hhbmdlZCI6ZmFsc2UsIklzTmV3IjpmYWxzZX19XSwiX21pbGVzdG9uZXMiOltdLCJJZCI6IjAwMDAwMDAwLTAwMDAtMDAwMC0wMDAwLTAwMDAwMDAwMDAwMCIsIklzU2luZ2xlSXRlbVJvdyI6dHJ1ZX0seyIkaWQiOiIxNDIiLCJfdGFza3MiOlt7IiRpZCI6IjE0MyIsIl9hdHRhY2hlZE1pbGVzdG9uZXMiOltdLCJUYXNrRGVmaW5pdGlvbiI6eyIkaWQiOiIxNDQiLCJHcm91cE5hbWUiOiI1NzkxNTE1Zi04MGFkLTRmNTUtYmRkMy1jMjMyNjg3ODI0MjgiLCJTdGFydERhdGUiOiIyMDIyLTA3LTEzVDIyOjI1OjAwWiIsIkVuZERhdGUiOiIyMDIyLTA5LTMwVDA3OjM2OjAwWiIsIlBlcmNlbnRhZ2VDb21wbGV0ZSI6NzUuMCwiU3R5bGUiOnsiJGlkIjoiMTQ1IiwiU2hhcGUiOjcsIlNoYXBlVGhpY2tuZXNzIjowLCJEdXJhdGlvbkZvcm1hdCI6MCwiSW5jbHVkZU5vbldvcmtpbmdEYXlzSW5EdXJhdGlvbiI6ZmFsc2UsIlBlcmNlbnRhZ2VDb21wbGV0ZVN0eWxlIjp7IiRpZCI6IjE0NiIsIkZvbnRTZXR0aW5ncyI6eyIkaWQiOiIxNDciLCJGb250U2l6ZSI6MTAsIkZvbnROYW1lIjoiQ2FsaWJyaSIsIklzQm9sZCI6ZmFsc2UsIklzSXRhbGljIjpmYWxzZSwiSXNVbmRlcmxpbmVkIjpmYWxzZSwiUGFyZW50U3R5bGUiOm51bGx9LCJBdXRvU2l6ZSI6MCwiRm9yZWdyb3VuZCI6eyIkaWQiOiIxNDgiLCJDb2xvciI6eyIkaWQiOiIxNDkiLCJBIjoyNTUsIlIiOjIzNywiRyI6MTI1LCJCIjo0OX19LCJNYXhXaWR0aCI6MjAwLjAsIk1heEhlaWdodCI6IkluZmluaXR5IiwiU21hcnRGb3JlZ3JvdW5kSXNBY3RpdmUiOmZhbHNlLCJIb3Jpem9udGFsQWxpZ25tZW50IjowLCJWZXJ0aWNhbEFsaWdubWVudCI6MCwiU21hcnRGb3JlZ3JvdW5kIjpudWxsLCJCYWNrZ3JvdW5kRmlsbFR5cGUiOjAsIk1hcmdpbiI6eyIkaWQiOiIxNTAiLCJUb3AiOjAuMCwiTGVmdCI6MC4wLCJSaWdodCI6MC4wLCJCb3R0b20iOjAuMH0sIlBhZGRpbmciOnsiJGlkIjoiMTUxIiwiVG9wIjowLjAsIkxlZnQiOjAuMCwiUmlnaHQiOjAuMCwiQm90dG9tIjowLjB9LCJCYWNrZ3JvdW5kIjp7IiRpZCI6IjE1MiIsIkNvbG9yIjp7IiRpZCI6IjE1MyIsIkEiOjg5LCJSIjowLCJHIjowLCJCIjowfX0sIklzVmlzaWJsZSI6dHJ1ZSwiV2lkdGgiOjAuMCwiSGVpZ2h0IjowLjAsIkJvcmRlclN0eWxlIjp7IiRpZCI6IjE1NCIsIkxpbmVDb2xvciI6bnVsbCwiTGluZVdlaWdodCI6MC4wLCJMaW5lVHlwZSI6MCwiUGFyZW50U3R5bGUiOm51bGx9LCJQYXJlbnRTdHlsZSI6bnVsbH0sIkR1cmF0aW9uU3R5bGUiOnsiJGlkIjoiMTU1IiwiRm9udFNldHRpbmdzIjp7IiRpZCI6IjE1NiIsIkZvbnRTaXplIjoxMCwiRm9udE5hbWUiOiJDYWxpYnJpIiwiSXNCb2xkIjpmYWxzZSwiSXNJdGFsaWMiOmZhbHNlLCJJc1VuZGVybGluZWQiOmZhbHNlLCJQYXJlbnRTdHlsZSI6bnVsbH0sIkF1dG9TaXplIjowLCJGb3JlZ3JvdW5kIjp7IiRpZCI6IjE1NyIsIkNvbG9yIjp7IiRpZCI6IjE1OC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E1OSIsIlRvcCI6MC4wLCJMZWZ0IjowLjAsIlJpZ2h0IjowLjAsIkJvdHRvbSI6MC4wfSwiUGFkZGluZyI6eyIkaWQiOiIxNjAiLCJUb3AiOjAuMCwiTGVmdCI6MC4wLCJSaWdodCI6MC4wLCJCb3R0b20iOjAuMH0sIkJhY2tncm91bmQiOnsiJGlkIjoiMTYxIiwiQ29sb3IiOnsiJHJlZiI6IjE1MyJ9fSwiSXNWaXNpYmxlIjp0cnVlLCJXaWR0aCI6MC4wLCJIZWlnaHQiOjAuMCwiQm9yZGVyU3R5bGUiOnsiJGlkIjoiMTYyIiwiTGluZUNvbG9yIjpudWxsLCJMaW5lV2VpZ2h0IjowLjAsIkxpbmVUeXBlIjowLCJQYXJlbnRTdHlsZSI6bnVsbH0sIlBhcmVudFN0eWxlIjpudWxsfSwiSG9yaXpvbnRhbENvbm5lY3RvclN0eWxlIjp7IiRpZCI6IjE2MyIsIkxpbmVDb2xvciI6eyIkaWQiOiIxNjQiLCIkdHlwZSI6Ik5MUkUuQ29tbW9uLkRvbS5Tb2xpZENvbG9yQnJ1c2gsIE5MUkUuQ29tbW9uIiwiQ29sb3IiOnsiJGlkIjoiMTY1IiwiQSI6MjU1LCJSIjoyMDQsIkciOjIwNCwiQiI6MjA0fX0sIkxpbmVXZWlnaHQiOjEuMCwiTGluZVR5cGUiOjAsIlBhcmVudFN0eWxlIjpudWxsfSwiVmVydGljYWxDb25uZWN0b3JTdHlsZSI6eyIkaWQiOiIxNjYiLCJMaW5lQ29sb3IiOnsiJGlkIjoiMTY3IiwiJHR5cGUiOiJOTFJFLkNvbW1vbi5Eb20uU29saWRDb2xvckJydXNoLCBOTFJFLkNvbW1vbiIsIkNvbG9yIjp7IiRpZCI6IjE2OCIsIkEiOjI1NSwiUiI6MjA0LCJHIjoyMDQsIkIiOjIwNH19LCJMaW5lV2VpZ2h0IjowLjAsIkxpbmVUeXBlIjowLCJQYXJlbnRTdHlsZSI6bnVsbH0sIk1hcmdpbiI6bnVsbCwiU3RhcnREYXRlUG9zaXRpb24iOjYsIkVuZERhdGVQb3NpdGlvbiI6NiwiRGF0ZUlzVmlzaWJsZSI6ZmFsc2UsIlRpdGxlUG9zaXRpb24iOjIsIkR1cmF0aW9uUG9zaXRpb24iOjYsIlBlcmNlbnRhZ2VDb21wbGV0ZWRQb3NpdGlvbiI6NiwiU3BhY2luZyI6MywiSXNCZWxvd1RpbWViYW5kIjp0cnVlLCJQZXJjZW50YWdlQ29tcGxldGVTaGFwZU9wYWNpdHkiOjM1LCJTaGFwZVN0eWxlIjp7IiRpZCI6IjE2OSIsIk1hcmdpbiI6eyIkaWQiOiIxNzAiLCJUb3AiOjAuMCwiTGVmdCI6NC4wLCJSaWdodCI6NC4wLCJCb3R0b20iOjAuMH0sIlBhZGRpbmciOnsiJGlkIjoiMTcxIiwiVG9wIjowLjAsIkxlZnQiOjAuMCwiUmlnaHQiOjAuMCwiQm90dG9tIjowLjB9LCJCYWNrZ3JvdW5kIjp7IiRpZCI6IjE3MiIsIkNvbG9yIjp7IiRpZCI6IjE3MyIsIkEiOjI1NSwiUiI6MjU1LCJHIjoxOTIsIkIiOjB9fSwiSXNWaXNpYmxlIjp0cnVlLCJXaWR0aCI6MC4wLCJIZWlnaHQiOjEwLjAsIkJvcmRlclN0eWxlIjp7IiRpZCI6IjE3NCIsIkxpbmVDb2xvciI6eyIkaWQiOiIxNzUiLCIkdHlwZSI6Ik5MUkUuQ29tbW9uLkRvbS5Tb2xpZENvbG9yQnJ1c2gsIE5MUkUuQ29tbW9uIiwiQ29sb3IiOnsiJGlkIjoiMTc2IiwiQSI6MjU1LCJSIjoyNTUsIkciOjAsIkIiOjB9fSwiTGluZVdlaWdodCI6MC4wLCJMaW5lVHlwZSI6MCwiUGFyZW50U3R5bGUiOm51bGx9LCJQYXJlbnRTdHlsZSI6bnVsbH0sIlRpdGxlU3R5bGUiOnsiJGlkIjoiMTc3IiwiRm9udFNldHRpbmdzIjp7IiRpZCI6IjE3OCIsIkZvbnRTaXplIjoxMSwiRm9udE5hbWUiOiJDYWxpYnJpIiwiSXNCb2xkIjp0cnVlLCJJc0l0YWxpYyI6ZmFsc2UsIklzVW5kZXJsaW5lZCI6ZmFsc2UsIlBhcmVudFN0eWxlIjpudWxsfSwiQXV0b1NpemUiOjIsIkZvcmVncm91bmQiOnsiJGlkIjoiMTc5IiwiQ29sb3IiOnsiJGlkIjoiMTgwIiwiQSI6MjU1LCJSIjowLCJHIjowLCJCIjowfX0sIk1heFdpZHRoIjo5My4xNCwiTWF4SGVpZ2h0IjoiSW5maW5pdHkiLCJTbWFydEZvcmVncm91bmRJc0FjdGl2ZSI6ZmFsc2UsIkhvcml6b250YWxBbGlnbm1lbnQiOjEsIlZlcnRpY2FsQWxpZ25tZW50IjowLCJTbWFydEZvcmVncm91bmQiOm51bGwsIkJhY2tncm91bmRGaWxsVHlwZSI6MCwiTWFyZ2luIjp7IiRpZCI6IjE4MSIsIlRvcCI6MC4wLCJMZWZ0IjowLjAsIlJpZ2h0IjowLjAsIkJvdHRvbSI6MC4wfSwiUGFkZGluZyI6eyIkaWQiOiIxODIiLCJUb3AiOjAuMCwiTGVmdCI6MC4wLCJSaWdodCI6MC4wLCJCb3R0b20iOjAuMH0sIkJhY2tncm91bmQiOnsiJGlkIjoiMTgzIiwiQ29sb3IiOnsiJGlkIjoiMTg0IiwiQSI6MCwiUiI6MjU1LCJHIjoyNTUsIkIiOjI1NX19LCJJc1Zpc2libGUiOnRydWUsIldpZHRoIjowLjAsIkhlaWdodCI6MC4wLCJCb3JkZXJTdHlsZSI6eyIkaWQiOiIxODUiLCJMaW5lQ29sb3IiOm51bGwsIkxpbmVXZWlnaHQiOjAuMCwiTGluZVR5cGUiOjAsIlBhcmVudFN0eWxlIjpudWxsfSwiUGFyZW50U3R5bGUiOm51bGx9LCJEYXRlU3R5bGUiOnsiJGlkIjoiMTg2IiwiRm9udFNldHRpbmdzIjp7IiRpZCI6IjE4NyIsIkZvbnRTaXplIjoxMCwiRm9udE5hbWUiOiJDYWxpYnJpIiwiSXNCb2xkIjpmYWxzZSwiSXNJdGFsaWMiOmZhbHNlLCJJc1VuZGVybGluZWQiOmZhbHNlLCJQYXJlbnRTdHlsZSI6bnVsbH0sIkF1dG9TaXplIjowLCJGb3JlZ3JvdW5kIjp7IiRyZWYiOiI4NiJ9LCJNYXhXaWR0aCI6MjAwLjAsIk1heEhlaWdodCI6IkluZmluaXR5IiwiU21hcnRGb3JlZ3JvdW5kSXNBY3RpdmUiOmZhbHNlLCJIb3Jpem9udGFsQWxpZ25tZW50IjowLCJWZXJ0aWNhbEFsaWdubWVudCI6MCwiU21hcnRGb3JlZ3JvdW5kIjpudWxsLCJCYWNrZ3JvdW5kRmlsbFR5cGUiOjAsIk1hcmdpbiI6eyIkaWQiOiIxODgiLCJUb3AiOjAuMCwiTGVmdCI6MC4wLCJSaWdodCI6MC4wLCJCb3R0b20iOjAuMH0sIlBhZGRpbmciOnsiJGlkIjoiMTg5IiwiVG9wIjowLjAsIkxlZnQiOjAuMCwiUmlnaHQiOjAuMCwiQm90dG9tIjowLjB9LCJCYWNrZ3JvdW5kIjp7IiRpZCI6IjE5MCIsIkNvbG9yIjp7IiRyZWYiOiIxNTMifX0sIklzVmlzaWJsZSI6dHJ1ZSwiV2lkdGgiOjAuMCwiSGVpZ2h0IjowLjAsIkJvcmRlclN0eWxlIjp7IiRpZCI6IjE5MSIsIkxpbmVDb2xvciI6bnVsbCwiTGluZVdlaWdodCI6MC4wLCJMaW5lVHlwZSI6MCwiUGFyZW50U3R5bGUiOm51bGx9LCJQYXJlbnRTdHlsZSI6bnVsbH0sIkRhdGVGb3JtYXQiOnsiJGlkIjoiMTky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5MyIsIkZvcm1hdCI6MCwiSXNWaXNpYmxlIjpmYWxzZSwiTGFzdEtub3duVmlzaWJpbGl0eVN0YXRlIjpmYWxzZX0sIklzVmlzaWJsZSI6dHJ1ZSwiUGFyZW50U3R5bGUiOm51bGx9LCJJbmRleCI6NywiU21hcnREdXJhdGlvbkFjdGl2YXRlZCI6ZmFsc2UsIkRhdGVGb3JtYXQiOnsiJHJlZiI6IjE5MiJ9LCJXZWVrTnVtYmVyaW5nIjp7IiRpZCI6IjE5NCIsIkZvcm1hdCI6MCwiSXNWaXNpYmxlIjpmYWxzZSwiTGFzdEtub3duVmlzaWJpbGl0eVN0YXRlIjpmYWxzZX0sIklkIjoiNzllZWJmMGMtYzAzZS00ZWEwLTg1NDAtYjgwODgyNzE3ZTBhIiwiSW1wb3J0SWQiOm51bGwsIlRpdGxlIjoiQmV0YSArIFJlbGVhc2UgUGxhbnMiLCJOb3RlIjpudWxsLCJIeXBlcmxpbmsiOnsiJGlkIjoiMTk1IiwiQWRkcmVzcyI6IiIsIlN1YkFkZHJlc3MiOiIifSwiSXNDaGFuZ2VkIjpmYWxzZSwiSXNOZXciOmZhbHNlfX0seyIkaWQiOiIxOTYiLCJfYXR0YWNoZWRNaWxlc3RvbmVzIjpbXSwiVGFza0RlZmluaXRpb24iOnsiJGlkIjoiMTk3IiwiR3JvdXBOYW1lIjoiNTc5MTUxNWYtODBhZC00ZjU1LWJkZDMtYzIzMjY4NzgyNDI4IiwiU3RhcnREYXRlIjoiMjAyMi0wNi0wNFQwMDowMDowMFoiLCJFbmREYXRlIjoiMjAyMi0wNy0xMVQyMzo1ODowMFoiLCJQZXJjZW50YWdlQ29tcGxldGUiOjc1LjAsIlN0eWxlIjp7IiRpZCI6IjE5OCIsIlNoYXBlIjo3LCJTaGFwZVRoaWNrbmVzcyI6MCwiRHVyYXRpb25Gb3JtYXQiOjAsIkluY2x1ZGVOb25Xb3JraW5nRGF5c0luRHVyYXRpb24iOmZhbHNlLCJQZXJjZW50YWdlQ29tcGxldGVTdHlsZSI6eyIkaWQiOiIxOTkiLCJGb250U2V0dGluZ3MiOnsiJGlkIjoiMjAwIiwiRm9udFNpemUiOjEwLCJGb250TmFtZSI6IkNhbGlicmkiLCJJc0JvbGQiOmZhbHNlLCJJc0l0YWxpYyI6ZmFsc2UsIklzVW5kZXJsaW5lZCI6ZmFsc2UsIlBhcmVudFN0eWxlIjpudWxsfSwiQXV0b1NpemUiOjAsIkZvcmVncm91bmQiOnsiJHJlZiI6IjE0OCJ9LCJNYXhXaWR0aCI6MjAwLjAsIk1heEhlaWdodCI6IkluZmluaXR5IiwiU21hcnRGb3JlZ3JvdW5kSXNBY3RpdmUiOmZhbHNlLCJIb3Jpem9udGFsQWxpZ25tZW50IjowLCJWZXJ0aWNhbEFsaWdubWVudCI6MCwiU21hcnRGb3JlZ3JvdW5kIjpudWxsLCJCYWNrZ3JvdW5kRmlsbFR5cGUiOjAsIk1hcmdpbiI6eyIkcmVmIjoiMTUwIn0sIlBhZGRpbmciOnsiJHJlZiI6IjE1MSJ9LCJCYWNrZ3JvdW5kIjp7IiRyZWYiOiIxNTIifSwiSXNWaXNpYmxlIjp0cnVlLCJXaWR0aCI6MC4wLCJIZWlnaHQiOjAuMCwiQm9yZGVyU3R5bGUiOnsiJGlkIjoiMjAxIiwiTGluZUNvbG9yIjpudWxsLCJMaW5lV2VpZ2h0IjowLjAsIkxpbmVUeXBlIjowLCJQYXJlbnRTdHlsZSI6bnVsbH0sIlBhcmVudFN0eWxlIjpudWxsfSwiRHVyYXRpb25TdHlsZSI6eyIkaWQiOiIyMDIiLCJGb250U2V0dGluZ3MiOnsiJGlkIjoiMjAzIiwiRm9udFNpemUiOjEwLCJGb250TmFtZSI6IkNhbGlicmkiLCJJc0JvbGQiOmZhbHNlLCJJc0l0YWxpYyI6ZmFsc2UsIklzVW5kZXJsaW5lZCI6ZmFsc2UsIlBhcmVudFN0eWxlIjpudWxsfSwiQXV0b1NpemUiOjAsIkZvcmVncm91bmQiOnsiJHJlZiI6IjE1NyJ9LCJNYXhXaWR0aCI6MjAwLjAsIk1heEhlaWdodCI6IkluZmluaXR5IiwiU21hcnRGb3JlZ3JvdW5kSXNBY3RpdmUiOmZhbHNlLCJIb3Jpem9udGFsQWxpZ25tZW50IjowLCJWZXJ0aWNhbEFsaWdubWVudCI6MCwiU21hcnRGb3JlZ3JvdW5kIjpudWxsLCJCYWNrZ3JvdW5kRmlsbFR5cGUiOjAsIk1hcmdpbiI6eyIkcmVmIjoiMTU5In0sIlBhZGRpbmciOnsiJHJlZiI6IjE2MCJ9LCJCYWNrZ3JvdW5kIjp7IiRyZWYiOiIxNjEifSwiSXNWaXNpYmxlIjp0cnVlLCJXaWR0aCI6MC4wLCJIZWlnaHQiOjAuMCwiQm9yZGVyU3R5bGUiOnsiJGlkIjoiMjA0IiwiTGluZUNvbG9yIjpudWxsLCJMaW5lV2VpZ2h0IjowLjAsIkxpbmVUeXBlIjowLCJQYXJlbnRTdHlsZSI6bnVsbH0sIlBhcmVudFN0eWxlIjpudWxsfSwiSG9yaXpvbnRhbENvbm5lY3RvclN0eWxlIjp7IiRpZCI6IjIwNSIsIkxpbmVDb2xvciI6eyIkcmVmIjoiMTY0In0sIkxpbmVXZWlnaHQiOjEuMCwiTGluZVR5cGUiOjAsIlBhcmVudFN0eWxlIjpudWxsfSwiVmVydGljYWxDb25uZWN0b3JTdHlsZSI6eyIkaWQiOiIyMDYiLCJMaW5lQ29sb3IiOnsiJHJlZiI6IjE2NyJ9LCJMaW5lV2VpZ2h0IjowLjAsIkxpbmVUeXBlIjowLCJQYXJlbnRTdHlsZSI6bnVsbH0sIk1hcmdpbiI6bnVsbCwiU3RhcnREYXRlUG9zaXRpb24iOjYsIkVuZERhdGVQb3NpdGlvbiI6NiwiRGF0ZUlzVmlzaWJsZSI6ZmFsc2UsIlRpdGxlUG9zaXRpb24iOjIsIkR1cmF0aW9uUG9zaXRpb24iOjYsIlBlcmNlbnRhZ2VDb21wbGV0ZWRQb3NpdGlvbiI6NiwiU3BhY2luZyI6MywiSXNCZWxvd1RpbWViYW5kIjp0cnVlLCJQZXJjZW50YWdlQ29tcGxldGVTaGFwZU9wYWNpdHkiOjM1LCJTaGFwZVN0eWxlIjp7IiRpZCI6IjIwNyIsIk1hcmdpbiI6eyIkcmVmIjoiMTcwIn0sIlBhZGRpbmciOnsiJHJlZiI6IjE3MSJ9LCJCYWNrZ3JvdW5kIjp7IiRpZCI6IjIwOCIsIkNvbG9yIjp7IiRpZCI6IjIwOSIsIkEiOjI1NSwiUiI6MjU1LCJHIjoxOTIsIkIiOjB9fSwiSXNWaXNpYmxlIjp0cnVlLCJXaWR0aCI6MC4wLCJIZWlnaHQiOjEwLjAsIkJvcmRlclN0eWxlIjp7IiRpZCI6IjIxMCIsIkxpbmVDb2xvciI6eyIkcmVmIjoiMTc1In0sIkxpbmVXZWlnaHQiOjAuMCwiTGluZVR5cGUiOjAsIlBhcmVudFN0eWxlIjpudWxsfSwiUGFyZW50U3R5bGUiOm51bGx9LCJUaXRsZVN0eWxlIjp7IiRpZCI6IjIxMSIsIkZvbnRTZXR0aW5ncyI6eyIkaWQiOiIyMTIiLCJGb250U2l6ZSI6MTEsIkZvbnROYW1lIjoiQ2FsaWJyaSIsIklzQm9sZCI6dHJ1ZSwiSXNJdGFsaWMiOmZhbHNlLCJJc1VuZGVybGluZWQiOmZhbHNlLCJQYXJlbnRTdHlsZSI6bnVsbH0sIkF1dG9TaXplIjoyLCJGb3JlZ3JvdW5kIjp7IiRpZCI6IjIxMyIsIkNvbG9yIjp7IiRpZCI6IjIxNCIsIkEiOjI1NSwiUiI6MCwiRyI6MCwiQiI6MH19LCJNYXhXaWR0aCI6NTguMDg2NjY2NjY2NjY2NjczLCJNYXhIZWlnaHQiOiJJbmZpbml0eSIsIlNtYXJ0Rm9yZWdyb3VuZElzQWN0aXZlIjpmYWxzZSwiSG9yaXpvbnRhbEFsaWdubWVudCI6MSwiVmVydGljYWxBbGlnbm1lbnQiOjAsIlNtYXJ0Rm9yZWdyb3VuZCI6bnVsbCwiQmFja2dyb3VuZEZpbGxUeXBlIjowLCJNYXJnaW4iOnsiJHJlZiI6IjE4MSJ9LCJQYWRkaW5nIjp7IiRyZWYiOiIxODIifSwiQmFja2dyb3VuZCI6eyIkaWQiOiIyMTUiLCJDb2xvciI6eyIkaWQiOiIyMTYiLCJBIjowLCJSIjoyNTUsIkciOjI1NSwiQiI6MjU1fX0sIklzVmlzaWJsZSI6dHJ1ZSwiV2lkdGgiOjAuMCwiSGVpZ2h0IjowLjAsIkJvcmRlclN0eWxlIjp7IiRpZCI6IjIxNyIsIkxpbmVDb2xvciI6bnVsbCwiTGluZVdlaWdodCI6MC4wLCJMaW5lVHlwZSI6MCwiUGFyZW50U3R5bGUiOm51bGx9LCJQYXJlbnRTdHlsZSI6bnVsbH0sIkRhdGVTdHlsZSI6eyIkaWQiOiIyMTgiLCJGb250U2V0dGluZ3MiOnsiJGlkIjoiMjE5IiwiRm9udFNpemUiOjEwLCJGb250TmFtZSI6IkNhbGlicmkiLCJJc0JvbGQiOmZhbHNlLCJJc0l0YWxpYyI6ZmFsc2UsIklzVW5kZXJsaW5lZCI6ZmFsc2UsIlBhcmVudFN0eWxlIjpudWxsfSwiQXV0b1NpemUiOjAsIkZvcmVncm91bmQiOnsiJHJlZiI6Ijg2In0sIk1heFdpZHRoIjoyMDAuMCwiTWF4SGVpZ2h0IjoiSW5maW5pdHkiLCJTbWFydEZvcmVncm91bmRJc0FjdGl2ZSI6ZmFsc2UsIkhvcml6b250YWxBbGlnbm1lbnQiOjAsIlZlcnRpY2FsQWxpZ25tZW50IjowLCJTbWFydEZvcmVncm91bmQiOm51bGwsIkJhY2tncm91bmRGaWxsVHlwZSI6MCwiTWFyZ2luIjp7IiRyZWYiOiIxODgifSwiUGFkZGluZyI6eyIkcmVmIjoiMTg5In0sIkJhY2tncm91bmQiOnsiJHJlZiI6IjE5MCJ9LCJJc1Zpc2libGUiOnRydWUsIldpZHRoIjowLjAsIkhlaWdodCI6MC4wLCJCb3JkZXJTdHlsZSI6eyIkaWQiOiIyMjAiLCJMaW5lQ29sb3IiOm51bGwsIkxpbmVXZWlnaHQiOjAuMCwiTGluZVR5cGUiOjAsIlBhcmVudFN0eWxlIjpudWxsfSwiUGFyZW50U3R5bGUiOm51bGx9LCJEYXRlRm9ybWF0Ijp7IiRyZWYiOiIxOTIifSwiV2Vla051bWJlcmluZyI6eyIkaWQiOiIyMjEiLCJGb3JtYXQiOjAsIklzVmlzaWJsZSI6ZmFsc2UsIkxhc3RLbm93blZpc2liaWxpdHlTdGF0ZSI6ZmFsc2V9LCJJc1Zpc2libGUiOnRydWUsIlBhcmVudFN0eWxlIjpudWxsfSwiSW5kZXgiOjgsIlNtYXJ0RHVyYXRpb25BY3RpdmF0ZWQiOmZhbHNlLCJEYXRlRm9ybWF0Ijp7IiRyZWYiOiIxOTIifSwiV2Vla051bWJlcmluZyI6eyIkaWQiOiIyMjIiLCJGb3JtYXQiOjAsIklzVmlzaWJsZSI6ZmFsc2UsIkxhc3RLbm93blZpc2liaWxpdHlTdGF0ZSI6ZmFsc2V9LCJJZCI6ImVlYjgzZTUwLTNmZmUtNGE3Mi1hMjAzLWZlZGU4N2YyMzA4MSIsIkltcG9ydElkIjpudWxsLCJUaXRsZSI6IlNhbGVzIEJ1ZGdldCIsIk5vdGUiOm51bGwsIkh5cGVybGluayI6eyIkaWQiOiIyMjMiLCJBZGRyZXNzIjoiIiwiU3ViQWRkcmVzcyI6IiJ9LCJJc0NoYW5nZWQiOmZhbHNlLCJJc05ldyI6ZmFsc2V9fSx7IiRpZCI6IjIyNCIsIl9hdHRhY2hlZE1pbGVzdG9uZXMiOltdLCJUYXNrRGVmaW5pdGlvbiI6eyIkaWQiOiIyMjUiLCJHcm91cE5hbWUiOiI1NzkxNTE1Zi04MGFkLTRmNTUtYmRkMy1jMjMyNjg3ODI0MjgiLCJTdGFydERhdGUiOiIyMDIyLTA0LTAyVDAwOjAwOjAwWiIsIkVuZERhdGUiOiIyMDIyLTA2LTAyVDEzOjAwOjAwWiIsIlBlcmNlbnRhZ2VDb21wbGV0ZSI6NzUuMCwiU3R5bGUiOnsiJGlkIjoiMjI2IiwiU2hhcGUiOjcsIlNoYXBlVGhpY2tuZXNzIjowLCJEdXJhdGlvbkZvcm1hdCI6MCwiSW5jbHVkZU5vbldvcmtpbmdEYXlzSW5EdXJhdGlvbiI6ZmFsc2UsIlBlcmNlbnRhZ2VDb21wbGV0ZVN0eWxlIjp7IiRpZCI6IjIyNyIsIkZvbnRTZXR0aW5ncyI6eyIkaWQiOiIyMjgiLCJGb250U2l6ZSI6MTAsIkZvbnROYW1lIjoiQ2FsaWJyaSIsIklzQm9sZCI6dHJ1ZSwiSXNJdGFsaWMiOmZhbHNlLCJJc1VuZGVybGluZWQiOmZhbHNlLCJQYXJlbnRTdHlsZSI6bnVsbH0sIkF1dG9TaXplIjowLCJGb3JlZ3JvdW5kIjp7IiRpZCI6IjIyOSIsIkNvbG9yIjp7IiRpZCI6IjIzMCIsIkEiOjI1NSwiUiI6MTI3LCJHIjo5NiwiQiI6MH19LCJNYXhXaWR0aCI6MjAwLjAsIk1heEhlaWdodCI6IkluZmluaXR5IiwiU21hcnRGb3JlZ3JvdW5kSXNBY3RpdmUiOmZhbHNlLCJIb3Jpem9udGFsQWxpZ25tZW50IjowLCJWZXJ0aWNhbEFsaWdubWVudCI6MCwiU21hcnRGb3JlZ3JvdW5kIjpudWxsLCJCYWNrZ3JvdW5kRmlsbFR5cGUiOjAsIk1hcmdpbiI6eyIkaWQiOiIyMzEiLCJUb3AiOjAuMCwiTGVmdCI6MC4wLCJSaWdodCI6MC4wLCJCb3R0b20iOjAuMH0sIlBhZGRpbmciOnsiJGlkIjoiMjMyIiwiVG9wIjowLjAsIkxlZnQiOjAuMCwiUmlnaHQiOjAuMCwiQm90dG9tIjowLjB9LCJCYWNrZ3JvdW5kIjp7IiRpZCI6IjIzMyIsIkNvbG9yIjp7IiRyZWYiOiI1OSJ9fSwiSXNWaXNpYmxlIjp0cnVlLCJXaWR0aCI6MC4wLCJIZWlnaHQiOjAuMCwiQm9yZGVyU3R5bGUiOnsiJGlkIjoiMjM0IiwiTGluZUNvbG9yIjpudWxsLCJMaW5lV2VpZ2h0IjowLjAsIkxpbmVUeXBlIjowLCJQYXJlbnRTdHlsZSI6bnVsbH0sIlBhcmVudFN0eWxlIjpudWxsfSwiRHVyYXRpb25TdHlsZSI6eyIkaWQiOiIyMzUiLCJGb250U2V0dGluZ3MiOnsiJGlkIjoiMjM2IiwiRm9udFNpemUiOjEwLCJGb250TmFtZSI6IkNhbGlicmkiLCJJc0JvbGQiOmZhbHNlLCJJc0l0YWxpYyI6ZmFsc2UsIklzVW5kZXJsaW5lZCI6ZmFsc2UsIlBhcmVudFN0eWxlIjpudWxsfSwiQXV0b1NpemUiOjAsIkZvcmVncm91bmQiOnsiJGlkIjoiMjM3IiwiQ29sb3IiOnsiJHJlZiI6IjU1In19LCJNYXhXaWR0aCI6MjAwLjAsIk1heEhlaWdodCI6IkluZmluaXR5IiwiU21hcnRGb3JlZ3JvdW5kSXNBY3RpdmUiOmZhbHNlLCJIb3Jpem9udGFsQWxpZ25tZW50IjowLCJWZXJ0aWNhbEFsaWdubWVudCI6MCwiU21hcnRGb3JlZ3JvdW5kIjpudWxsLCJCYWNrZ3JvdW5kRmlsbFR5cGUiOjAsIk1hcmdpbiI6eyIkaWQiOiIyMzgiLCJUb3AiOjAuMCwiTGVmdCI6MC4wLCJSaWdodCI6MC4wLCJCb3R0b20iOjAuMH0sIlBhZGRpbmciOnsiJGlkIjoiMjM5IiwiVG9wIjowLjAsIkxlZnQiOjAuMCwiUmlnaHQiOjAuMCwiQm90dG9tIjowLjB9LCJCYWNrZ3JvdW5kIjp7IiRyZWYiOiI1OCJ9LCJJc1Zpc2libGUiOnRydWUsIldpZHRoIjowLjAsIkhlaWdodCI6MC4wLCJCb3JkZXJTdHlsZSI6eyIkaWQiOiIyNDAiLCJMaW5lQ29sb3IiOm51bGwsIkxpbmVXZWlnaHQiOjAuMCwiTGluZVR5cGUiOjAsIlBhcmVudFN0eWxlIjpudWxsfSwiUGFyZW50U3R5bGUiOm51bGx9LCJIb3Jpem9udGFsQ29ubmVjdG9yU3R5bGUiOnsiJGlkIjoiMjQxIiwiTGluZUNvbG9yIjp7IiRyZWYiOiI2MiJ9LCJMaW5lV2VpZ2h0IjoxLjAsIkxpbmVUeXBlIjowLCJQYXJlbnRTdHlsZSI6bnVsbH0sIlZlcnRpY2FsQ29ubmVjdG9yU3R5bGUiOnsiJGlkIjoiMjQyIiwiTGluZUNvbG9yIjp7IiRyZWYiOiI2NSJ9LCJMaW5lV2VpZ2h0IjowLjAsIkxpbmVUeXBlIjowLCJQYXJlbnRTdHlsZSI6bnVsbH0sIk1hcmdpbiI6bnVsbCwiU3RhcnREYXRlUG9zaXRpb24iOjYsIkVuZERhdGVQb3NpdGlvbiI6NiwiRGF0ZUlzVmlzaWJsZSI6ZmFsc2UsIlRpdGxlUG9zaXRpb24iOjIsIkR1cmF0aW9uUG9zaXRpb24iOjYsIlBlcmNlbnRhZ2VDb21wbGV0ZWRQb3NpdGlvbiI6NiwiU3BhY2luZyI6MywiSXNCZWxvd1RpbWViYW5kIjp0cnVlLCJQZXJjZW50YWdlQ29tcGxldGVTaGFwZU9wYWNpdHkiOjM1LCJTaGFwZVN0eWxlIjp7IiRpZCI6IjI0MyIsIk1hcmdpbiI6eyIkaWQiOiIyNDQiLCJUb3AiOjAuMCwiTGVmdCI6NC4wLCJSaWdodCI6NC4wLCJCb3R0b20iOjAuMH0sIlBhZGRpbmciOnsiJGlkIjoiMjQ1IiwiVG9wIjowLjAsIkxlZnQiOjAuMCwiUmlnaHQiOjAuMCwiQm90dG9tIjowLjB9LCJCYWNrZ3JvdW5kIjp7IiRpZCI6IjI0NiIsIkNvbG9yIjp7IiRpZCI6IjI0NyIsIkEiOjI1NSwiUiI6MjU1LCJHIjoxOTIsIkIiOjB9fSwiSXNWaXNpYmxlIjp0cnVlLCJXaWR0aCI6MC4wLCJIZWlnaHQiOjEwLjAsIkJvcmRlclN0eWxlIjp7IiRpZCI6IjI0OCIsIkxpbmVDb2xvciI6eyIkaWQiOiIyNDkiLCIkdHlwZSI6Ik5MUkUuQ29tbW9uLkRvbS5Tb2xpZENvbG9yQnJ1c2gsIE5MUkUuQ29tbW9uIiwiQ29sb3IiOnsiJGlkIjoiMjUwIiwiQSI6MjU1LCJSIjoyNTUsIkciOjAsIkIiOjB9fSwiTGluZVdlaWdodCI6MC4wLCJMaW5lVHlwZSI6MCwiUGFyZW50U3R5bGUiOm51bGx9LCJQYXJlbnRTdHlsZSI6bnVsbH0sIlRpdGxlU3R5bGUiOnsiJGlkIjoiMjUxIiwiRm9udFNldHRpbmdzIjp7IiRpZCI6IjI1MiIsIkZvbnRTaXplIjoxMSwiRm9udE5hbWUiOiJDYWxpYnJpIiwiSXNCb2xkIjp0cnVlLCJJc0l0YWxpYyI6ZmFsc2UsIklzVW5kZXJsaW5lZCI6ZmFsc2UsIlBhcmVudFN0eWxlIjpudWxsfSwiQXV0b1NpemUiOjAsIkZvcmVncm91bmQiOnsiJGlkIjoiMjUzIiwiQ29sb3IiOnsiJGlkIjoiMjU0IiwiQSI6MjU1LCJSIjowLCJHIjowLCJCIjowfX0sIk1heFdpZHRoIjo5NjAuMCwiTWF4SGVpZ2h0IjoiSW5maW5pdHkiLCJTbWFydEZvcmVncm91bmRJc0FjdGl2ZSI6ZmFsc2UsIkhvcml6b250YWxBbGlnbm1lbnQiOjEsIlZlcnRpY2FsQWxpZ25tZW50IjowLCJTbWFydEZvcmVncm91bmQiOm51bGwsIkJhY2tncm91bmRGaWxsVHlwZSI6MCwiTWFyZ2luIjp7IiRpZCI6IjI1NSIsIlRvcCI6MC4wLCJMZWZ0IjowLjAsIlJpZ2h0IjowLjAsIkJvdHRvbSI6MC4wfSwiUGFkZGluZyI6eyIkaWQiOiIyNTYiLCJUb3AiOjAuMCwiTGVmdCI6MC4wLCJSaWdodCI6MC4wLCJCb3R0b20iOjAuMH0sIkJhY2tncm91bmQiOnsiJGlkIjoiMjU3IiwiQ29sb3IiOnsiJGlkIjoiMjU4IiwiQSI6MCwiUiI6MjU1LCJHIjoyNTUsIkIiOjI1NX19LCJJc1Zpc2libGUiOnRydWUsIldpZHRoIjowLjAsIkhlaWdodCI6MC4wLCJCb3JkZXJTdHlsZSI6eyIkaWQiOiIyNTkiLCJMaW5lQ29sb3IiOm51bGwsIkxpbmVXZWlnaHQiOjAuMCwiTGluZVR5cGUiOjAsIlBhcmVudFN0eWxlIjpudWxsfSwiUGFyZW50U3R5bGUiOm51bGx9LCJEYXRlU3R5bGUiOnsiJGlkIjoiMjYwIiwiRm9udFNldHRpbmdzIjp7IiRpZCI6IjI2MSIsIkZvbnRTaXplIjoxMCwiRm9udE5hbWUiOiJDYWxpYnJpIiwiSXNCb2xkIjpmYWxzZSwiSXNJdGFsaWMiOmZhbHNlLCJJc1VuZGVybGluZWQiOmZhbHNlLCJQYXJlbnRTdHlsZSI6bnVsbH0sIkF1dG9TaXplIjowLCJGb3JlZ3JvdW5kIjp7IiRyZWYiOiI4NiJ9LCJNYXhXaWR0aCI6MjAwLjAsIk1heEhlaWdodCI6IkluZmluaXR5IiwiU21hcnRGb3JlZ3JvdW5kSXNBY3RpdmUiOmZhbHNlLCJIb3Jpem9udGFsQWxpZ25tZW50IjoyLCJWZXJ0aWNhbEFsaWdubWVudCI6MCwiU21hcnRGb3JlZ3JvdW5kIjpudWxsLCJCYWNrZ3JvdW5kRmlsbFR5cGUiOjAsIk1hcmdpbiI6eyIkaWQiOiIyNjIiLCJUb3AiOjAuMCwiTGVmdCI6MC4wLCJSaWdodCI6MC4wLCJCb3R0b20iOjAuMH0sIlBhZGRpbmciOnsiJGlkIjoiMjYzIiwiVG9wIjowLjAsIkxlZnQiOjAuMCwiUmlnaHQiOjAuMCwiQm90dG9tIjowLjB9LCJCYWNrZ3JvdW5kIjp7IiRyZWYiOiI5MCJ9LCJJc1Zpc2libGUiOnRydWUsIldpZHRoIjowLjAsIkhlaWdodCI6MC4wLCJCb3JkZXJTdHlsZSI6eyIkaWQiOiIyNjQiLCJMaW5lQ29sb3IiOm51bGwsIkxpbmVXZWlnaHQiOjAuMCwiTGluZVR5cGUiOjAsIlBhcmVudFN0eWxlIjpudWxsfSwiUGFyZW50U3R5bGUiOm51bGx9LCJEYXRlRm9ybWF0Ijp7IiRpZCI6IjI2NS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yNjYiLCJGb3JtYXQiOjAsIklzVmlzaWJsZSI6ZmFsc2UsIkxhc3RLbm93blZpc2liaWxpdHlTdGF0ZSI6ZmFsc2V9LCJJc1Zpc2libGUiOnRydWUsIlBhcmVudFN0eWxlIjpudWxsfSwiSW5kZXgiOjksIlNtYXJ0RHVyYXRpb25BY3RpdmF0ZWQiOmZhbHNlLCJEYXRlRm9ybWF0Ijp7IiRyZWYiOiIyNjUifSwiV2Vla051bWJlcmluZyI6eyIkaWQiOiIyNjciLCJGb3JtYXQiOjAsIklzVmlzaWJsZSI6ZmFsc2UsIkxhc3RLbm93blZpc2liaWxpdHlTdGF0ZSI6ZmFsc2V9LCJJZCI6IjExOGFhMjYyLWM5YjAtNDhlMS05ZTBiLTJlY2M1MWUzNmMzOCIsIkltcG9ydElkIjpudWxsLCJUaXRsZSI6IlN0cmF0ZWdpYyBJbnRlbnQiLCJOb3RlIjpudWxsLCJIeXBlcmxpbmsiOnsiJGlkIjoiMjY4IiwiQWRkcmVzcyI6IiIsIlN1YkFkZHJlc3MiOiIifSwiSXNDaGFuZ2VkIjpmYWxzZSwiSXNOZXciOmZhbHNlfX0seyIkaWQiOiIyNjkiLCJfYXR0YWNoZWRNaWxlc3RvbmVzIjpbeyIkaWQiOiIyNzAiLCJEYXRlIjoiMjAyMi0wMy0zMVQyMzo1OTowMCIsIlN0eWxlIjp7IiRpZCI6IjI3MSIsIlNoYXBlIjoxNCwiQ29ubmVjdG9yTWFyZ2luIjp7IiRpZCI6IjI3MiIsIlRvcCI6MC4wLCJMZWZ0IjoyLjAsIlJpZ2h0IjoyLjAsIkJvdHRvbSI6MC4wfSwiQ29ubmVjdG9yU3R5bGUiOnsiJGlkIjoiMjczIiwiTGluZUNvbG9yIjp7IiRpZCI6IjI3NCIsIiR0eXBlIjoiTkxSRS5Db21tb24uRG9tLlNvbGlkQ29sb3JCcnVzaCwgTkxSRS5Db21tb24iLCJDb2xvciI6eyIkaWQiOiIyNzUiLCJBIjoxMjcsIlIiOjEyNywiRyI6OTYsIkIiOjB9fSwiTGluZVdlaWdodCI6MS4wLCJMaW5lVHlwZSI6MCwiUGFyZW50U3R5bGUiOm51bGx9LCJJc0JlbG93VGltZWJhbmQiOnRydWUsIlBvc2l0aW9uT25UYXNrIjozLCJIaWRlRGF0ZSI6ZmFsc2UsIlNoYXBlU2l6ZSI6MSwiU3BhY2luZyI6MS4wLCJQYWRkaW5nIjp7IiRyZWYiOiIxMiJ9LCJTaGFwZVN0eWxlIjp7IiRpZCI6IjI3NiIsIk1hcmdpbiI6eyIkaWQiOiIyNzciLCJUb3AiOjAuMCwiTGVmdCI6MC4wLCJSaWdodCI6MC4wLCJCb3R0b20iOjAuMH0sIlBhZGRpbmciOnsiJGlkIjoiMjc4IiwiVG9wIjowLjAsIkxlZnQiOjAuMCwiUmlnaHQiOjAuMCwiQm90dG9tIjowLjB9LCJCYWNrZ3JvdW5kIjp7IiRpZCI6IjI3OSIsIkNvbG9yIjp7IiRpZCI6IjI4MCIsIkEiOjI1NSwiUiI6MTI3LCJHIjo5NiwiQiI6MH19LCJJc1Zpc2libGUiOnRydWUsIldpZHRoIjoxOC4wLCJIZWlnaHQiOjIwLjAsIkJvcmRlclN0eWxlIjp7IiRpZCI6IjI4MSIsIkxpbmVDb2xvciI6bnVsbCwiTGluZVdlaWdodCI6MC4wLCJMaW5lVHlwZSI6MCwiUGFyZW50U3R5bGUiOm51bGx9LCJQYXJlbnRTdHlsZSI6bnVsbH0sIlRpdGxlU3R5bGUiOnsiJGlkIjoiMjgyIiwiRm9udFNldHRpbmdzIjp7IiRpZCI6IjI4MyIsIkZvbnRTaXplIjoxMSwiRm9udE5hbWUiOiJDYWxpYnJpIiwiSXNCb2xkIjp0cnVlLCJJc0l0YWxpYyI6ZmFsc2UsIklzVW5kZXJsaW5lZCI6ZmFsc2UsIlBhcmVudFN0eWxlIjpudWxsfSwiQXV0b1NpemUiOjAsIkZvcmVncm91bmQiOnsiJGlkIjoiMjg0IiwiQ29sb3IiOnsiJGlkIjoiMjg1IiwiQSI6MjU1LCJSIjowLCJHIjowLCJCIjowfX0sIk1heFdpZHRoIjoyMDAuMCwiTWF4SGVpZ2h0IjoiSW5maW5pdHkiLCJTbWFydEZvcmVncm91bmRJc0FjdGl2ZSI6ZmFsc2UsIkhvcml6b250YWxBbGlnbm1lbnQiOjIsIlZlcnRpY2FsQWxpZ25tZW50IjowLCJTbWFydEZvcmVncm91bmQiOm51bGwsIkJhY2tncm91bmRGaWxsVHlwZSI6MCwiTWFyZ2luIjp7IiRpZCI6IjI4NiIsIlRvcCI6MC4wLCJMZWZ0IjowLjAsIlJpZ2h0IjowLjAsIkJvdHRvbSI6MC4wfSwiUGFkZGluZyI6eyIkaWQiOiIyODciLCJUb3AiOjAuMCwiTGVmdCI6MC4wLCJSaWdodCI6MC4wLCJCb3R0b20iOjAuMH0sIkJhY2tncm91bmQiOnsiJGlkIjoiMjg4IiwiQ29sb3IiOnsiJGlkIjoiMjg5IiwiQSI6MCwiUiI6MjU1LCJHIjoyNTUsIkIiOjI1NX19LCJJc1Zpc2libGUiOmZhbHNlLCJXaWR0aCI6MC4wLCJIZWlnaHQiOjAuMCwiQm9yZGVyU3R5bGUiOnsiJGlkIjoiMjkwIiwiTGluZUNvbG9yIjpudWxsLCJMaW5lV2VpZ2h0IjowLjAsIkxpbmVUeXBlIjowLCJQYXJlbnRTdHlsZSI6bnVsbH0sIlBhcmVudFN0eWxlIjpudWxsfSwiRGF0ZVN0eWxlIjp7IiRpZCI6IjI5MSIsIkZvbnRTZXR0aW5ncyI6eyIkaWQiOiIyOTIiLCJGb250U2l6ZSI6MTAsIkZvbnROYW1lIjoiQ2FsaWJyaSIsIklzQm9sZCI6ZmFsc2UsIklzSXRhbGljIjpmYWxzZSwiSXNVbmRlcmxpbmVkIjpmYWxzZSwiUGFyZW50U3R5bGUiOm51bGx9LCJBdXRvU2l6ZSI6MCwiRm9yZWdyb3VuZCI6eyIkaWQiOiIyOTMiLCJDb2xvciI6eyIkaWQiOiIyOTQiLCJBIjoyNTUsIlIiOjY4LCJHIjo4NCwiQiI6MTA2fX0sIk1heFdpZHRoIjoyMDAuMCwiTWF4SGVpZ2h0IjoiSW5maW5pdHkiLCJTbWFydEZvcmVncm91bmRJc0FjdGl2ZSI6ZmFsc2UsIkhvcml6b250YWxBbGlnbm1lbnQiOjIsIlZlcnRpY2FsQWxpZ25tZW50IjowLCJTbWFydEZvcmVncm91bmQiOm51bGwsIkJhY2tncm91bmRGaWxsVHlwZSI6MCwiTWFyZ2luIjp7IiRpZCI6IjI5NSIsIlRvcCI6MC4wLCJMZWZ0IjowLjAsIlJpZ2h0IjowLjAsIkJvdHRvbSI6MC4wfSwiUGFkZGluZyI6eyIkaWQiOiIyOTYiLCJUb3AiOjAuMCwiTGVmdCI6MC4wLCJSaWdodCI6MC4wLCJCb3R0b20iOjAuMH0sIkJhY2tncm91bmQiOnsiJGlkIjoiMjk3IiwiQ29sb3IiOnsiJGlkIjoiMjk4IiwiQSI6MCwiUiI6MjU1LCJHIjoyNTUsIkIiOjI1NX19LCJJc1Zpc2libGUiOmZhbHNlLCJXaWR0aCI6MC4wLCJIZWlnaHQiOjAuMCwiQm9yZGVyU3R5bGUiOnsiJGlkIjoiMjk5IiwiTGluZUNvbG9yIjpudWxsLCJMaW5lV2VpZ2h0IjowLjAsIkxpbmVUeXBlIjowLCJQYXJlbnRTdHlsZSI6bnVsbH0sIlBhcmVudFN0eWxlIjpudWxsfSwiRGF0ZUZvcm1hdCI6eyIkaWQiOiIzMDA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MzAxIiwiRm9ybWF0IjowLCJJc1Zpc2libGUiOmZhbHNlLCJMYXN0S25vd25WaXNpYmlsaXR5U3RhdGUiOmZhbHNlfSwiSXNWaXNpYmxlIjp0cnVlLCJQYXJlbnRTdHlsZSI6bnVsbH0sIkluZGV4IjoxMSwiUGVyY2VudGFnZUNvbXBsZXRlIjpudWxsLCJQb3NpdGlvbiI6eyJSYXRpbyI6MC4wLCJJc0N1c3RvbSI6ZmFsc2V9LCJEYXRlRm9ybWF0Ijp7IiRyZWYiOiIzMDAifSwiV2Vla051bWJlcmluZyI6eyIkaWQiOiIzMDIiLCJGb3JtYXQiOjAsIklzVmlzaWJsZSI6ZmFsc2UsIkxhc3RLbm93blZpc2liaWxpdHlTdGF0ZSI6ZmFsc2V9LCJSZWxhdGVkVGFza0lkIjoiODQwZDE5MDYtY2IxMC00YjAxLWJkZTEtNWJiNzhlOGUzMjNiIiwiSWQiOiIzOTk5ZjE4ZS0yYzYxLTQ1NGMtYWRmZC03ZWE0NjNkMjUzNmIiLCJJbXBvcnRJZCI6bnVsbCwiVGl0bGUiOiJLUElzIERlZmluZWQiLCJOb3RlIjpudWxsLCJIeXBlcmxpbmsiOnsiJGlkIjoiMzAzIiwiQWRkcmVzcyI6IiIsIlN1YkFkZHJlc3MiOiIifSwiSXNDaGFuZ2VkIjpmYWxzZSwiSXNOZXciOmZhbHNlfV0sIlRhc2tEZWZpbml0aW9uIjp7IiRpZCI6IjMwNCIsIkdyb3VwTmFtZSI6IjU3OTE1MTVmLTgwYWQtNGY1NS1iZGQzLWMyMzI2ODc4MjQyOCIsIlN0YXJ0RGF0ZSI6IjIwMjItMDItMjNUMTQ6MzY6MDBaIiwiRW5kRGF0ZSI6IjIwMjItMDQtMDdUMDA6MjQ6MDBaIiwiUGVyY2VudGFnZUNvbXBsZXRlIjoxMDAuMCwiU3R5bGUiOnsiJGlkIjoiMzA1IiwiU2hhcGUiOjcsIlNoYXBlVGhpY2tuZXNzIjowLCJEdXJhdGlvbkZvcm1hdCI6MCwiSW5jbHVkZU5vbldvcmtpbmdEYXlzSW5EdXJhdGlvbiI6ZmFsc2UsIlBlcmNlbnRhZ2VDb21wbGV0ZVN0eWxlIjp7IiRpZCI6IjMwNiIsIkZvbnRTZXR0aW5ncyI6eyIkaWQiOiIzMDciLCJGb250U2l6ZSI6MTAsIkZvbnROYW1lIjoiQ2FsaWJyaSIsIklzQm9sZCI6dHJ1ZSwiSXNJdGFsaWMiOmZhbHNlLCJJc1VuZGVybGluZWQiOmZhbHNlLCJQYXJlbnRTdHlsZSI6bnVsbH0sIkF1dG9TaXplIjowLCJGb3JlZ3JvdW5kIjp7IiRpZCI6IjMwOCIsIkNvbG9yIjp7IiRpZCI6IjMwOSIsIkEiOjI1NSwiUiI6MTI3LCJHIjo5NiwiQiI6MH19LCJNYXhXaWR0aCI6MjAwLjAsIk1heEhlaWdodCI6IkluZmluaXR5IiwiU21hcnRGb3JlZ3JvdW5kSXNBY3RpdmUiOmZhbHNlLCJIb3Jpem9udGFsQWxpZ25tZW50IjoyLCJWZXJ0aWNhbEFsaWdubWVudCI6MCwiU21hcnRGb3JlZ3JvdW5kIjpudWxsLCJCYWNrZ3JvdW5kRmlsbFR5cGUiOjAsIk1hcmdpbiI6eyIkaWQiOiIzMTAiLCJUb3AiOjAuMCwiTGVmdCI6MC4wLCJSaWdodCI6MC4wLCJCb3R0b20iOjAuMH0sIlBhZGRpbmciOnsiJGlkIjoiMzExIiwiVG9wIjowLjAsIkxlZnQiOjAuMCwiUmlnaHQiOjAuMCwiQm90dG9tIjowLjB9LCJCYWNrZ3JvdW5kIjp7IiRpZCI6IjMxMiIsIkNvbG9yIjp7IiRyZWYiOiI1MCJ9fSwiSXNWaXNpYmxlIjp0cnVlLCJXaWR0aCI6MC4wLCJIZWlnaHQiOjAuMCwiQm9yZGVyU3R5bGUiOnsiJGlkIjoiMzEzIiwiTGluZUNvbG9yIjpudWxsLCJMaW5lV2VpZ2h0IjowLjAsIkxpbmVUeXBlIjowLCJQYXJlbnRTdHlsZSI6bnVsbH0sIlBhcmVudFN0eWxlIjpudWxsfSwiRHVyYXRpb25TdHlsZSI6eyIkaWQiOiIzMTQiLCJGb250U2V0dGluZ3MiOnsiJGlkIjoiMzE1IiwiRm9udFNpemUiOjEwLCJGb250TmFtZSI6IkNhbGlicmkiLCJJc0JvbGQiOmZhbHNlLCJJc0l0YWxpYyI6ZmFsc2UsIklzVW5kZXJsaW5lZCI6ZmFsc2UsIlBhcmVudFN0eWxlIjpudWxsfSwiQXV0b1NpemUiOjAsIkZvcmVncm91bmQiOnsiJGlkIjoiMzE2IiwiQ29sb3IiOnsiJHJlZiI6IjU1In19LCJNYXhXaWR0aCI6MjAwLjAsIk1heEhlaWdodCI6IkluZmluaXR5IiwiU21hcnRGb3JlZ3JvdW5kSXNBY3RpdmUiOmZhbHNlLCJIb3Jpem9udGFsQWxpZ25tZW50IjowLCJWZXJ0aWNhbEFsaWdubWVudCI6MCwiU21hcnRGb3JlZ3JvdW5kIjpudWxsLCJCYWNrZ3JvdW5kRmlsbFR5cGUiOjAsIk1hcmdpbiI6eyIkaWQiOiIzMTciLCJUb3AiOjAuMCwiTGVmdCI6MC4wLCJSaWdodCI6MC4wLCJCb3R0b20iOjAuMH0sIlBhZGRpbmciOnsiJGlkIjoiMzE4IiwiVG9wIjowLjAsIkxlZnQiOjAuMCwiUmlnaHQiOjAuMCwiQm90dG9tIjowLjB9LCJCYWNrZ3JvdW5kIjp7IiRyZWYiOiI1OCJ9LCJJc1Zpc2libGUiOnRydWUsIldpZHRoIjowLjAsIkhlaWdodCI6MC4wLCJCb3JkZXJTdHlsZSI6eyIkaWQiOiIzMTkiLCJMaW5lQ29sb3IiOm51bGwsIkxpbmVXZWlnaHQiOjAuMCwiTGluZVR5cGUiOjAsIlBhcmVudFN0eWxlIjpudWxsfSwiUGFyZW50U3R5bGUiOm51bGx9LCJIb3Jpem9udGFsQ29ubmVjdG9yU3R5bGUiOnsiJGlkIjoiMzIwIiwiTGluZUNvbG9yIjp7IiRyZWYiOiI2MiJ9LCJMaW5lV2VpZ2h0IjoxLjAsIkxpbmVUeXBlIjowLCJQYXJlbnRTdHlsZSI6bnVsbH0sIlZlcnRpY2FsQ29ubmVjdG9yU3R5bGUiOnsiJGlkIjoiMzIxIiwiTGluZUNvbG9yIjp7IiRyZWYiOiI2NSJ9LCJMaW5lV2VpZ2h0IjowLjAsIkxpbmVUeXBlIjowLCJQYXJlbnRTdHlsZSI6bnVsbH0sIk1hcmdpbiI6bnVsbCwiU3RhcnREYXRlUG9zaXRpb24iOjYsIkVuZERhdGVQb3NpdGlvbiI6NiwiRGF0ZUlzVmlzaWJsZSI6ZmFsc2UsIlRpdGxlUG9zaXRpb24iOjIsIkR1cmF0aW9uUG9zaXRpb24iOjYsIlBlcmNlbnRhZ2VDb21wbGV0ZWRQb3NpdGlvbiI6MywiU3BhY2luZyI6MywiSXNCZWxvd1RpbWViYW5kIjp0cnVlLCJQZXJjZW50YWdlQ29tcGxldGVTaGFwZU9wYWNpdHkiOjM1LCJTaGFwZVN0eWxlIjp7IiRpZCI6IjMyMiIsIk1hcmdpbiI6eyIkaWQiOiIzMjMiLCJUb3AiOjAuMCwiTGVmdCI6NC4wLCJSaWdodCI6NC4wLCJCb3R0b20iOjAuMH0sIlBhZGRpbmciOnsiJGlkIjoiMzI0IiwiVG9wIjowLjAsIkxlZnQiOjAuMCwiUmlnaHQiOjAuMCwiQm90dG9tIjowLjB9LCJCYWNrZ3JvdW5kIjp7IiRpZCI6IjMyNSIsIkNvbG9yIjp7IiRpZCI6IjMyNiIsIkEiOjI1NSwiUiI6MjU1LCJHIjoxOTIsIkIiOjB9fSwiSXNWaXNpYmxlIjp0cnVlLCJXaWR0aCI6MC4wLCJIZWlnaHQiOjEwLjAsIkJvcmRlclN0eWxlIjp7IiRpZCI6IjMyNyIsIkxpbmVDb2xvciI6eyIkaWQiOiIzMjgiLCIkdHlwZSI6Ik5MUkUuQ29tbW9uLkRvbS5Tb2xpZENvbG9yQnJ1c2gsIE5MUkUuQ29tbW9uIiwiQ29sb3IiOnsiJGlkIjoiMzI5IiwiQSI6MjU1LCJSIjoyNTUsIkciOjAsIkIiOjB9fSwiTGluZVdlaWdodCI6MC4wLCJMaW5lVHlwZSI6MCwiUGFyZW50U3R5bGUiOm51bGx9LCJQYXJlbnRTdHlsZSI6bnVsbH0sIlRpdGxlU3R5bGUiOnsiJGlkIjoiMzMwIiwiRm9udFNldHRpbmdzIjp7IiRpZCI6IjMzMSIsIkZvbnRTaXplIjoxMSwiRm9udE5hbWUiOiJDYWxpYnJpIiwiSXNCb2xkIjp0cnVlLCJJc0l0YWxpYyI6ZmFsc2UsIklzVW5kZXJsaW5lZCI6ZmFsc2UsIlBhcmVudFN0eWxlIjpudWxsfSwiQXV0b1NpemUiOjAsIkZvcmVncm91bmQiOnsiJGlkIjoiMzMyIiwiQ29sb3IiOnsiJGlkIjoiMzMzIiwiQSI6MjU1LCJSIjowLCJHIjowLCJCIjowfX0sIk1heFdpZHRoIjo5NjAuMCwiTWF4SGVpZ2h0IjoiSW5maW5pdHkiLCJTbWFydEZvcmVncm91bmRJc0FjdGl2ZSI6ZmFsc2UsIkhvcml6b250YWxBbGlnbm1lbnQiOjEsIlZlcnRpY2FsQWxpZ25tZW50IjowLCJTbWFydEZvcmVncm91bmQiOm51bGwsIkJhY2tncm91bmRGaWxsVHlwZSI6MCwiTWFyZ2luIjp7IiRpZCI6IjMzNCIsIlRvcCI6MC4wLCJMZWZ0IjowLjAsIlJpZ2h0IjowLjAsIkJvdHRvbSI6MC4wfSwiUGFkZGluZyI6eyIkaWQiOiIzMzUiLCJUb3AiOjAuMCwiTGVmdCI6MC4wLCJSaWdodCI6MC4wLCJCb3R0b20iOjAuMH0sIkJhY2tncm91bmQiOnsiJGlkIjoiMzM2IiwiQ29sb3IiOnsiJGlkIjoiMzM3IiwiQSI6MCwiUiI6MjU1LCJHIjoyNTUsIkIiOjI1NX19LCJJc1Zpc2libGUiOnRydWUsIldpZHRoIjowLjAsIkhlaWdodCI6MC4wLCJCb3JkZXJTdHlsZSI6eyIkaWQiOiIzMzgiLCJMaW5lQ29sb3IiOm51bGwsIkxpbmVXZWlnaHQiOjAuMCwiTGluZVR5cGUiOjAsIlBhcmVudFN0eWxlIjpudWxsfSwiUGFyZW50U3R5bGUiOm51bGx9LCJEYXRlU3R5bGUiOnsiJGlkIjoiMzM5IiwiRm9udFNldHRpbmdzIjp7IiRpZCI6IjM0MCIsIkZvbnRTaXplIjoxMCwiRm9udE5hbWUiOiJDYWxpYnJpIiwiSXNCb2xkIjpmYWxzZSwiSXNJdGFsaWMiOmZhbHNlLCJJc1VuZGVybGluZWQiOmZhbHNlLCJQYXJlbnRTdHlsZSI6bnVsbH0sIkF1dG9TaXplIjowLCJGb3JlZ3JvdW5kIjp7IiRyZWYiOiI4NiJ9LCJNYXhXaWR0aCI6MjAwLjAsIk1heEhlaWdodCI6IkluZmluaXR5IiwiU21hcnRGb3JlZ3JvdW5kSXNBY3RpdmUiOmZhbHNlLCJIb3Jpem9udGFsQWxpZ25tZW50IjowLCJWZXJ0aWNhbEFsaWdubWVudCI6MCwiU21hcnRGb3JlZ3JvdW5kIjpudWxsLCJCYWNrZ3JvdW5kRmlsbFR5cGUiOjAsIk1hcmdpbiI6eyIkaWQiOiIzNDEiLCJUb3AiOjAuMCwiTGVmdCI6MC4wLCJSaWdodCI6MC4wLCJCb3R0b20iOjAuMH0sIlBhZGRpbmciOnsiJGlkIjoiMzQyIiwiVG9wIjowLjAsIkxlZnQiOjAuMCwiUmlnaHQiOjAuMCwiQm90dG9tIjowLjB9LCJCYWNrZ3JvdW5kIjp7IiRyZWYiOiI5MCJ9LCJJc1Zpc2libGUiOnRydWUsIldpZHRoIjowLjAsIkhlaWdodCI6MC4wLCJCb3JkZXJTdHlsZSI6eyIkaWQiOiIzNDMiLCJMaW5lQ29sb3IiOm51bGwsIkxpbmVXZWlnaHQiOjAuMCwiTGluZVR5cGUiOjAsIlBhcmVudFN0eWxlIjpudWxsfSwiUGFyZW50U3R5bGUiOm51bGx9LCJEYXRlRm9ybWF0Ijp7IiRpZCI6IjM0NC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zNDUiLCJGb3JtYXQiOjAsIklzVmlzaWJsZSI6ZmFsc2UsIkxhc3RLbm93blZpc2liaWxpdHlTdGF0ZSI6ZmFsc2V9LCJJc1Zpc2libGUiOnRydWUsIlBhcmVudFN0eWxlIjpudWxsfSwiSW5kZXgiOjEwLCJTbWFydER1cmF0aW9uQWN0aXZhdGVkIjpmYWxzZSwiRGF0ZUZvcm1hdCI6eyIkcmVmIjoiMzQ0In0sIldlZWtOdW1iZXJpbmciOnsiJGlkIjoiMzQ2IiwiRm9ybWF0IjowLCJJc1Zpc2libGUiOmZhbHNlLCJMYXN0S25vd25WaXNpYmlsaXR5U3RhdGUiOmZhbHNlfSwiSWQiOiI4NDBkMTkwNi1jYjEwLTRiMDEtYmRlMS01YmI3OGU4ZTMyM2IiLCJJbXBvcnRJZCI6bnVsbCwiVGl0bGUiOiJHb2FscyIsIk5vdGUiOm51bGwsIkh5cGVybGluayI6eyIkaWQiOiIzNDciLCJBZGRyZXNzIjoiIiwiU3ViQWRkcmVzcyI6IiJ9LCJJc0NoYW5nZWQiOmZhbHNlLCJJc05ldyI6ZmFsc2V9fV0sIl9taWxlc3RvbmVzIjpbXSwiSWQiOiI1NzkxNTE1Zi04MGFkLTRmNTUtYmRkMy1jMjMyNjg3ODI0MjgiLCJJc1NpbmdsZUl0ZW1Sb3ciOmZhbHNlfV0sIkluZGV4IjowLCJJZCI6ImNhMzVjN2Q5LWU0ZDgtNGQ2NS1hM2U5LWJiOGI3YzI3NzQzNSIsIkhlYWRlclRleHQiOm51bGwsIklzRGVmYXVsdCI6dHJ1ZSwiU3R5bGUiOnsiJGlkIjoiMzQ4IiwiSGVhZGVyU3R5bGUiOnsiJGlkIjoiMzQ5IiwiVGV4dFN0eWxlIjp7IiRpZCI6IjM1MCIsIkZvbnRTZXR0aW5ncyI6eyIkaWQiOiIzNTEiLCJGb250U2l6ZSI6MTEsIkZvbnROYW1lIjoiQ2FsaWJyaSIsIklzQm9sZCI6ZmFsc2UsIklzSXRhbGljIjpmYWxzZSwiSXNVbmRlcmxpbmVkIjpmYWxzZSwiUGFyZW50U3R5bGUiOm51bGx9LCJBdXRvU2l6ZSI6MiwiRm9yZWdyb3VuZCI6eyIkaWQiOiIzNTIiLCJDb2xvciI6eyIkaWQiOiIzNTMiLCJBIjoyNTUsIlIiOjAsIkciOjAsIkIiOjB9fSwiTWF4V2lkdGgiOjAuMCwiTWF4SGVpZ2h0IjoiSW5maW5pdHkiLCJTbWFydEZvcmVncm91bmRJc0FjdGl2ZSI6ZmFsc2UsIkhvcml6b250YWxBbGlnbm1lbnQiOjAsIlZlcnRpY2FsQWxpZ25tZW50IjowLCJTbWFydEZvcmVncm91bmQiOm51bGwsIkJhY2tncm91bmRGaWxsVHlwZSI6MCwiTWFyZ2luIjp7IiRpZCI6IjM1NCIsIlRvcCI6MC4wLCJMZWZ0IjowLjAsIlJpZ2h0IjowLjAsIkJvdHRvbSI6MC4wfSwiUGFkZGluZyI6eyIkaWQiOiIzNTUiLCJUb3AiOjAuMCwiTGVmdCI6MC4wLCJSaWdodCI6MC4wLCJCb3R0b20iOjAuMH0sIkJhY2tncm91bmQiOm51bGwsIklzVmlzaWJsZSI6dHJ1ZSwiV2lkdGgiOjAuMCwiSGVpZ2h0IjowLjAsIkJvcmRlclN0eWxlIjpudWxsLCJQYXJlbnRTdHlsZSI6bnVsbH0sIlJlY3RhbmdsZVN0eWxlIjp7IiRpZCI6IjM1NiIsIk1hcmdpbiI6eyIkaWQiOiIzNTciLCJUb3AiOjAuMCwiTGVmdCI6MC4wLCJSaWdodCI6MC4wLCJCb3R0b20iOjAuMH0sIlBhZGRpbmciOnsiJGlkIjoiMzU4IiwiVG9wIjowLjAsIkxlZnQiOjAuMCwiUmlnaHQiOjAuMCwiQm90dG9tIjowLjB9LCJCYWNrZ3JvdW5kIjp7IiRpZCI6IjM1OSIsIkNvbG9yIjp7IiRpZCI6IjM2MCIsIkEiOjYzLCJSIjoyNTUsIkciOjE5MiwiQiI6MH19LCJJc1Zpc2libGUiOnRydWUsIldpZHRoIjowLjAsIkhlaWdodCI6MC4wLCJCb3JkZXJTdHlsZSI6eyIkaWQiOiIzNjEiLCJMaW5lQ29sb3IiOnsiJGlkIjoiMzYyIiwiJHR5cGUiOiJOTFJFLkNvbW1vbi5Eb20uU29saWRDb2xvckJydXNoLCBOTFJFLkNvbW1vbiIsIkNvbG9yIjp7IiRpZCI6IjM2MyIsIkEiOjI1NSwiUiI6MjU1LCJHIjowLCJCIjowfX0sIkxpbmVXZWlnaHQiOjAuMCwiTGluZVR5cGUiOjAsIlBhcmVudFN0eWxlIjpudWxsfSwiUGFyZW50U3R5bGUiOm51bGx9LCJNYXJnaW4iOnsiJGlkIjoiMzY0IiwiVG9wIjowLjAsIkxlZnQiOjAuMCwiUmlnaHQiOjAuMCwiQm90dG9tIjowLjB9LCJQYWRkaW5nIjp7IiRpZCI6IjM2NSIsIlRvcCI6MC4wLCJMZWZ0IjowLjAsIlJpZ2h0IjowLjAsIkJvdHRvbSI6MC4wfSwiQmFja2dyb3VuZCI6bnVsbCwiSXNWaXNpYmxlIjp0cnVlLCJXaWR0aCI6MC4wLCJIZWlnaHQiOjAuMCwiQm9yZGVyU3R5bGUiOm51bGwsIlBhcmVudFN0eWxlIjpudWxsfSwiQmFja2dyb3VuZFN0eWxlIjp7IiRpZCI6IjM2NiIsIk1hcmdpbiI6eyIkaWQiOiIzNjciLCJUb3AiOjAuMCwiTGVmdCI6MC4wLCJSaWdodCI6MC4wLCJCb3R0b20iOjAuMH0sIlBhZGRpbmciOnsiJGlkIjoiMzY4IiwiVG9wIjowLjAsIkxlZnQiOjAuMCwiUmlnaHQiOjAuMCwiQm90dG9tIjowLjB9LCJCYWNrZ3JvdW5kIjp7IiRpZCI6IjM2OSIsIkNvbG9yIjp7IiRpZCI6IjM3MCIsIkEiOjUxLCJSIjoxNjUsIkciOjE2NSwiQiI6MTY1fX0sIklzVmlzaWJsZSI6dHJ1ZSwiV2lkdGgiOjAuMCwiSGVpZ2h0IjowLjAsIkJvcmRlclN0eWxlIjp7IiRpZCI6IjM3MSIsIkxpbmVDb2xvciI6eyIkaWQiOiIzNzIiLCIkdHlwZSI6Ik5MUkUuQ29tbW9uLkRvbS5Tb2xpZENvbG9yQnJ1c2gsIE5MUkUuQ29tbW9uIiwiQ29sb3IiOnsiJGlkIjoiMzczIiwiQSI6MjU1LCJSIjoyNTUsIkciOjAsIkIiOjB9fSwiTGluZVdlaWdodCI6MC4wLCJMaW5lVHlwZSI6MCwiUGFyZW50U3R5bGUiOm51bGx9LCJQYXJlbnRTdHlsZSI6bnVsbH0sIk1hcmdpbiI6eyIkaWQiOiIzNzQiLCJUb3AiOjAuMCwiTGVmdCI6MC4wLCJSaWdodCI6MC4wLCJCb3R0b20iOjAuMH0sIlBhZGRpbmciOnsiJGlkIjoiMzc1IiwiVG9wIjowLjAsIkxlZnQiOjAuMCwiUmlnaHQiOjAuMCwiQm90dG9tIjowLjB9LCJJc1Zpc2libGUiOmZhbHNlLCJXaWR0aCI6MC4wLCJIZWlnaHQiOjAuMCwiQm9yZGVyU3R5bGUiOm51bGwsIlBhcmVudFN0eWxlIjpudWxsfX1dLCJJZCI6IjljZjBiOWEzLWI0MDYtNDg2OS1iOWFlLTc0OGZiNWVmYmI1MSIsIkluZGV4IjowLCJIZWFkZXJUZXh0IjoiUGxhbm5pbmciLCJTdHlsZSI6eyIkaWQiOiIzNzYiLCJIZWFkZXJTdHlsZSI6eyIkaWQiOiIzNzciLCJUZXh0SXNWZXJ0aWNhbCI6ZmFsc2UsIlRleHRTdHlsZSI6eyIkaWQiOiIzNzgiLCJGb250U2V0dGluZ3MiOnsiJGlkIjoiMzc5IiwiRm9udFNpemUiOjEyLCJGb250TmFtZSI6IkNhbGlicmkiLCJJc0JvbGQiOnRydWUsIklzSXRhbGljIjpmYWxzZSwiSXNVbmRlcmxpbmVkIjpmYWxzZSwiUGFyZW50U3R5bGUiOm51bGx9LCJBdXRvU2l6ZSI6MCwiRm9yZWdyb3VuZCI6eyIkaWQiOiIzODAiLCJDb2xvciI6eyIkaWQiOiIzODEiLCJBIjoyNTUsIlIiOjI1NSwiRyI6MjU1LCJCIjoyNTV9fSwiTWF4V2lkdGgiOjAuMCwiTWF4SGVpZ2h0IjowLjAsIlNtYXJ0Rm9yZWdyb3VuZElzQWN0aXZlIjpmYWxzZSwiSG9yaXpvbnRhbEFsaWdubWVudCI6MCwiVmVydGljYWxBbGlnbm1lbnQiOjAsIlNtYXJ0Rm9yZWdyb3VuZCI6bnVsbCwiQmFja2dyb3VuZEZpbGxUeXBlIjowLCJNYXJnaW4iOnsiJGlkIjoiMzgyIiwiVG9wIjowLjAsIkxlZnQiOjAuMCwiUmlnaHQiOjAuMCwiQm90dG9tIjowLjB9LCJQYWRkaW5nIjp7IiRpZCI6IjM4MyIsIlRvcCI6MC4wLCJMZWZ0IjowLjAsIlJpZ2h0IjowLjAsIkJvdHRvbSI6MC4wfSwiQmFja2dyb3VuZCI6bnVsbCwiSXNWaXNpYmxlIjpmYWxzZSwiV2lkdGgiOjAuMCwiSGVpZ2h0IjowLjAsIkJvcmRlclN0eWxlIjpudWxsLCJQYXJlbnRTdHlsZSI6bnVsbH0sIlJlY3RhbmdsZVN0eWxlIjp7IiRpZCI6IjM4NCIsIk1hcmdpbiI6eyIkaWQiOiIzODUiLCJUb3AiOjAuMCwiTGVmdCI6MC4wLCJSaWdodCI6MC4wLCJCb3R0b20iOjAuMH0sIlBhZGRpbmciOnsiJGlkIjoiMzg2IiwiVG9wIjowLjAsIkxlZnQiOjAuMCwiUmlnaHQiOjAuMCwiQm90dG9tIjowLjB9LCJCYWNrZ3JvdW5kIjp7IiRpZCI6IjM4NyIsIkNvbG9yIjp7IiRpZCI6IjM4OCIsIkEiOjI1NSwiUiI6MjU1LCJHIjoxOTIsIkIiOjB9fSwiSXNWaXNpYmxlIjpmYWxzZSwiV2lkdGgiOjAuMCwiSGVpZ2h0IjowLjAsIkJvcmRlclN0eWxlIjp7IiRpZCI6IjM4OSIsIkxpbmVDb2xvciI6eyIkaWQiOiIzOTAiLCIkdHlwZSI6Ik5MUkUuQ29tbW9uLkRvbS5Tb2xpZENvbG9yQnJ1c2gsIE5MUkUuQ29tbW9uIiwiQ29sb3IiOnsiJGlkIjoiMzkxIiwiQSI6MjU1LCJSIjoyMiwiRyI6MjgsIkIiOjM1fX0sIkxpbmVXZWlnaHQiOjAuMCwiTGluZVR5cGUiOjAsIlBhcmVudFN0eWxlIjpudWxsfSwiUGFyZW50U3R5bGUiOm51bGx9LCJNYXJnaW4iOnsiJGlkIjoiMzkyIiwiVG9wIjowLjAsIkxlZnQiOjAuMCwiUmlnaHQiOjAuMCwiQm90dG9tIjowLjB9LCJQYWRkaW5nIjp7IiRpZCI6IjM5MyIsIlRvcCI6MC4wLCJMZWZ0IjowLjAsIlJpZ2h0IjowLjAsIkJvdHRvbSI6MC4wfSwiQmFja2dyb3VuZCI6bnVsbCwiSXNWaXNpYmxlIjp0cnVlLCJXaWR0aCI6MC4wLCJIZWlnaHQiOjAuMCwiQm9yZGVyU3R5bGUiOm51bGwsIlBhcmVudFN0eWxlIjpudWxsfSwiQmFja2dyb3VuZFN0eWxlIjp7IiRpZCI6IjM5NCIsIk1hcmdpbiI6eyIkaWQiOiIzOTUiLCJUb3AiOjAuMCwiTGVmdCI6MC4wLCJSaWdodCI6MC4wLCJCb3R0b20iOjAuMH0sIlBhZGRpbmciOnsiJGlkIjoiMzk2IiwiVG9wIjowLjAsIkxlZnQiOjAuMCwiUmlnaHQiOjAuMCwiQm90dG9tIjowLjB9LCJCYWNrZ3JvdW5kIjp7IiRpZCI6IjM5NyIsIkNvbG9yIjp7IiRpZCI6IjM5OCIsIkEiOjM4LCJSIjoyNTUsIkciOjE5MiwiQiI6MH19LCJJc1Zpc2libGUiOnRydWUsIldpZHRoIjowLjAsIkhlaWdodCI6MC4wLCJCb3JkZXJTdHlsZSI6eyIkaWQiOiIzOTkiLCJMaW5lQ29sb3IiOnsiJGlkIjoiNDAwIiwiJHR5cGUiOiJOTFJFLkNvbW1vbi5Eb20uU29saWRDb2xvckJydXNoLCBOTFJFLkNvbW1vbiIsIkNvbG9yIjp7IiRpZCI6IjQwMSIsIkEiOjI1NSwiUiI6MjIsIkciOjI4LCJCIjozNX19LCJMaW5lV2VpZ2h0IjowLjAsIkxpbmVUeXBlIjowLCJQYXJlbnRTdHlsZSI6bnVsbH0sIlBhcmVudFN0eWxlIjpudWxsfSwiSXNBYm92ZVRpbWViYW5kIjpmYWxzZSwiTWFyZ2luIjp7IiRpZCI6IjQwMiIsIlRvcCI6MC4wLCJMZWZ0IjowLjAsIlJpZ2h0IjowLjAsIkJvdHRvbSI6MC4wfSwiUGFkZGluZyI6eyIkaWQiOiI0MDMiLCJUb3AiOjAuMCwiTGVmdCI6MC4wLCJSaWdodCI6MC4wLCJCb3R0b20iOjAuMH0sIklzVmlzaWJsZSI6dHJ1ZSwiV2lkdGgiOjAuMCwiSGVpZ2h0IjowLjAsIkJvcmRlclN0eWxlIjp7IiRpZCI6IjQwNCIsIkxpbmVDb2xvciI6bnVsbCwiTGluZVdlaWdodCI6MC4wLCJMaW5lVHlwZSI6MCwiUGFyZW50U3R5bGUiOm51bGx9LCJQYXJlbnRTdHlsZSI6bnVsbH19LHsiJGlkIjoiNDA1IiwiX2FjdGl2aXRpZXMiOlt7IiRpZCI6IjQwNiIsIl9yb3dzIjpbeyIkaWQiOiI0MDciLCJfdGFza3MiOlt7IiRpZCI6IjQwOCIsIl9hdHRhY2hlZE1pbGVzdG9uZXMiOlt7IiRpZCI6IjQwOSIsIkRhdGUiOiIyMDIyLTAzLTMxVDIzOjU5OjAwIiwiU3R5bGUiOnsiJGlkIjoiNDEwIiwiU2hhcGUiOjE0LCJDb25uZWN0b3JNYXJnaW4iOnsiJGlkIjoiNDExIiwiVG9wIjowLjAsIkxlZnQiOjIuMCwiUmlnaHQiOjIuMCwiQm90dG9tIjowLjB9LCJDb25uZWN0b3JTdHlsZSI6eyIkaWQiOiI0MTIiLCJMaW5lQ29sb3IiOnsiJGlkIjoiNDEzIiwiJHR5cGUiOiJOTFJFLkNvbW1vbi5Eb20uU29saWRDb2xvckJydXNoLCBOTFJFLkNvbW1vbiIsIkNvbG9yIjp7IiRpZCI6IjQxNCIsIkEiOjEyNywiUiI6MTMyLCJHIjo2MCwiQiI6MTJ9fSwiTGluZVdlaWdodCI6MS4wLCJMaW5lVHlwZSI6MCwiUGFyZW50U3R5bGUiOm51bGx9LCJJc0JlbG93VGltZWJhbmQiOnRydWUsIlBvc2l0aW9uT25UYXNrIjozLCJIaWRlRGF0ZSI6ZmFsc2UsIlNoYXBlU2l6ZSI6MSwiU3BhY2luZyI6MS4wLCJQYWRkaW5nIjp7IiRyZWYiOiIxMiJ9LCJTaGFwZVN0eWxlIjp7IiRpZCI6IjQxNSIsIk1hcmdpbiI6eyIkcmVmIjoiMjc3In0sIlBhZGRpbmciOnsiJHJlZiI6IjI3OCJ9LCJCYWNrZ3JvdW5kIjp7IiRpZCI6IjQxNiIsIkNvbG9yIjp7IiRpZCI6IjQxNyIsIkEiOjI1NSwiUiI6MTMyLCJHIjo2MCwiQiI6MTJ9fSwiSXNWaXNpYmxlIjp0cnVlLCJXaWR0aCI6MTguMCwiSGVpZ2h0IjoyMC4wLCJCb3JkZXJTdHlsZSI6eyIkaWQiOiI0MTgiLCJMaW5lQ29sb3IiOm51bGwsIkxpbmVXZWlnaHQiOjAuMCwiTGluZVR5cGUiOjAsIlBhcmVudFN0eWxlIjpudWxsfSwiUGFyZW50U3R5bGUiOm51bGx9LCJUaXRsZVN0eWxlIjp7IiRpZCI6IjQxOSIsIkZvbnRTZXR0aW5ncyI6eyIkaWQiOiI0MjAiLCJGb250U2l6ZSI6MTEsIkZvbnROYW1lIjoiQ2FsaWJyaSIsIklzQm9sZCI6dHJ1ZSwiSXNJdGFsaWMiOmZhbHNlLCJJc1VuZGVybGluZWQiOmZhbHNlLCJQYXJlbnRTdHlsZSI6bnVsbH0sIkF1dG9TaXplIjowLCJGb3JlZ3JvdW5kIjp7IiRpZCI6IjQyMSIsIkNvbG9yIjp7IiRpZCI6IjQyMi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Mjg2In0sIlBhZGRpbmciOnsiJHJlZiI6IjI4NyJ9LCJCYWNrZ3JvdW5kIjp7IiRpZCI6IjQyMyIsIkNvbG9yIjp7IiRpZCI6IjQyNCIsIkEiOjAsIlIiOjI1NSwiRyI6MjU1LCJCIjoyNTV9fSwiSXNWaXNpYmxlIjp0cnVlLCJXaWR0aCI6MC4wLCJIZWlnaHQiOjAuMCwiQm9yZGVyU3R5bGUiOnsiJGlkIjoiNDI1IiwiTGluZUNvbG9yIjpudWxsLCJMaW5lV2VpZ2h0IjowLjAsIkxpbmVUeXBlIjowLCJQYXJlbnRTdHlsZSI6bnVsbH0sIlBhcmVudFN0eWxlIjpudWxsfSwiRGF0ZVN0eWxlIjp7IiRpZCI6IjQyNiIsIkZvbnRTZXR0aW5ncyI6eyIkaWQiOiI0MjciLCJGb250U2l6ZSI6MTAsIkZvbnROYW1lIjoiQ2FsaWJyaSIsIklzQm9sZCI6ZmFsc2UsIklzSXRhbGljIjpmYWxzZSwiSXNVbmRlcmxpbmVkIjpmYWxzZSwiUGFyZW50U3R5bGUiOm51bGx9LCJBdXRvU2l6ZSI6MCwiRm9yZWdyb3VuZCI6eyIkaWQiOiI0MjgiLCJDb2xvciI6eyIkaWQiOiI0MjkiLCJBIjoyNTUsIlIiOjY4LCJHIjo4NCwiQiI6MTA2fX0sIk1heFdpZHRoIjoyMDAuMCwiTWF4SGVpZ2h0IjoiSW5maW5pdHkiLCJTbWFydEZvcmVncm91bmRJc0FjdGl2ZSI6ZmFsc2UsIkhvcml6b250YWxBbGlnbm1lbnQiOjIsIlZlcnRpY2FsQWxpZ25tZW50IjowLCJTbWFydEZvcmVncm91bmQiOm51bGwsIkJhY2tncm91bmRGaWxsVHlwZSI6MCwiTWFyZ2luIjp7IiRyZWYiOiIyOTUifSwiUGFkZGluZyI6eyIkcmVmIjoiMjk2In0sIkJhY2tncm91bmQiOnsiJGlkIjoiNDMwIiwiQ29sb3IiOnsiJGlkIjoiNDMxIiwiQSI6MCwiUiI6MjU1LCJHIjoyNTUsIkIiOjI1NX19LCJJc1Zpc2libGUiOmZhbHNlLCJXaWR0aCI6MC4wLCJIZWlnaHQiOjAuMCwiQm9yZGVyU3R5bGUiOnsiJGlkIjoiNDMyIiwiTGluZUNvbG9yIjpudWxsLCJMaW5lV2VpZ2h0IjowLjAsIkxpbmVUeXBlIjowLCJQYXJlbnRTdHlsZSI6bnVsbH0sIlBhcmVudFN0eWxlIjpudWxsfSwiRGF0ZUZvcm1hdCI6eyIkaWQiOiI0MzM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NDM0IiwiRm9ybWF0IjowLCJJc1Zpc2libGUiOmZhbHNlLCJMYXN0S25vd25WaXNpYmlsaXR5U3RhdGUiOmZhbHNlfSwiSXNWaXNpYmxlIjp0cnVlLCJQYXJlbnRTdHlsZSI6bnVsbH0sIkluZGV4IjoxMywiUGVyY2VudGFnZUNvbXBsZXRlIjpudWxsLCJQb3NpdGlvbiI6eyJSYXRpbyI6MC4wLCJJc0N1c3RvbSI6ZmFsc2V9LCJEYXRlRm9ybWF0Ijp7IiRyZWYiOiI0MzMifSwiV2Vla051bWJlcmluZyI6eyIkaWQiOiI0MzUiLCJGb3JtYXQiOjAsIklzVmlzaWJsZSI6ZmFsc2UsIkxhc3RLbm93blZpc2liaWxpdHlTdGF0ZSI6ZmFsc2V9LCJSZWxhdGVkVGFza0lkIjoiNDRkZTk3NjUtZTcyMC00NTU3LWI4ODItOTdmNDcwOWI4YzMwIiwiSWQiOiIwNzIzYTUzNC1iOGIwLTRkODQtOGFkNC05ZDk2MGI4MzNiOWMiLCJJbXBvcnRJZCI6bnVsbCwiVGl0bGUiOiJDb21wZXRpdG9yIFJldmlldyIsIk5vdGUiOm51bGwsIkh5cGVybGluayI6eyIkaWQiOiI0MzYiLCJBZGRyZXNzIjoiIiwiU3ViQWRkcmVzcyI6IiJ9LCJJc0NoYW5nZWQiOmZhbHNlLCJJc05ldyI6ZmFsc2V9XSwiVGFza0RlZmluaXRpb24iOnsiJGlkIjoiNDM3IiwiR3JvdXBOYW1lIjoiMWVkZjNkNjMtYTJmMy00Mzg4LWFkYWEtNDM1NTljM2UwZjdhIiwiU3RhcnREYXRlIjoiMjAyMi0wMi0wMlQyMTowMzowMFoiLCJFbmREYXRlIjoiMjAyMi0wNC0wN1QyMDo1OTowMFoiLCJQZXJjZW50YWdlQ29tcGxldGUiOm51bGwsIlN0eWxlIjp7IiRpZCI6IjQzOCIsIlNoYXBlIjo3LCJTaGFwZVRoaWNrbmVzcyI6MCwiRHVyYXRpb25Gb3JtYXQiOjAsIkluY2x1ZGVOb25Xb3JraW5nRGF5c0luRHVyYXRpb24iOmZhbHNlLCJQZXJjZW50YWdlQ29tcGxldGVTdHlsZSI6eyIkaWQiOiI0MzkiLCJGb250U2V0dGluZ3MiOnsiJGlkIjoiNDQwIiwiRm9udFNpemUiOjEwLCJGb250TmFtZSI6IkNhbGlicmkiLCJJc0JvbGQiOmZhbHNlLCJJc0l0YWxpYyI6ZmFsc2UsIklzVW5kZXJsaW5lZCI6ZmFsc2UsIlBhcmVudFN0eWxlIjpudWxsfSwiQXV0b1NpemUiOjAsIkZvcmVncm91bmQiOnsiJGlkIjoiNDQxIiwiQ29sb3IiOnsiJGlkIjoiNDQy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GlkIjoiNDQzIiwiVG9wIjowLjAsIkxlZnQiOjAuMCwiUmlnaHQiOjAuMCwiQm90dG9tIjowLjB9LCJQYWRkaW5nIjp7IiRpZCI6IjQ0NCIsIlRvcCI6MC4wLCJMZWZ0IjowLjAsIlJpZ2h0IjowLjAsIkJvdHRvbSI6MC4wfSwiQmFja2dyb3VuZCI6eyIkcmVmIjoiMjMzIn0sIklzVmlzaWJsZSI6dHJ1ZSwiV2lkdGgiOjAuMCwiSGVpZ2h0IjowLjAsIkJvcmRlclN0eWxlIjp7IiRpZCI6IjQ0NSIsIkxpbmVDb2xvciI6bnVsbCwiTGluZVdlaWdodCI6MC4wLCJMaW5lVHlwZSI6MCwiUGFyZW50U3R5bGUiOm51bGx9LCJQYXJlbnRTdHlsZSI6bnVsbH0sIkR1cmF0aW9uU3R5bGUiOnsiJGlkIjoiNDQ2IiwiRm9udFNldHRpbmdzIjp7IiRpZCI6IjQ0NyIsIkZvbnRTaXplIjoxMCwiRm9udE5hbWUiOiJDYWxpYnJpIiwiSXNCb2xkIjpmYWxzZSwiSXNJdGFsaWMiOmZhbHNlLCJJc1VuZGVybGluZWQiOmZhbHNlLCJQYXJlbnRTdHlsZSI6bnVsbH0sIkF1dG9TaXplIjowLCJGb3JlZ3JvdW5kIjp7IiRpZCI6IjQ0OCIsIkNvbG9yIjp7IiRyZWYiOiI1NSJ9fSwiTWF4V2lkdGgiOjIwMC4wLCJNYXhIZWlnaHQiOiJJbmZpbml0eSIsIlNtYXJ0Rm9yZWdyb3VuZElzQWN0aXZlIjpmYWxzZSwiSG9yaXpvbnRhbEFsaWdubWVudCI6MCwiVmVydGljYWxBbGlnbm1lbnQiOjAsIlNtYXJ0Rm9yZWdyb3VuZCI6bnVsbCwiQmFja2dyb3VuZEZpbGxUeXBlIjowLCJNYXJnaW4iOnsiJGlkIjoiNDQ5IiwiVG9wIjowLjAsIkxlZnQiOjAuMCwiUmlnaHQiOjAuMCwiQm90dG9tIjowLjB9LCJQYWRkaW5nIjp7IiRpZCI6IjQ1MCIsIlRvcCI6MC4wLCJMZWZ0IjowLjAsIlJpZ2h0IjowLjAsIkJvdHRvbSI6MC4wfSwiQmFja2dyb3VuZCI6eyIkcmVmIjoiNTgifSwiSXNWaXNpYmxlIjp0cnVlLCJXaWR0aCI6MC4wLCJIZWlnaHQiOjAuMCwiQm9yZGVyU3R5bGUiOnsiJGlkIjoiNDUxIiwiTGluZUNvbG9yIjpudWxsLCJMaW5lV2VpZ2h0IjowLjAsIkxpbmVUeXBlIjowLCJQYXJlbnRTdHlsZSI6bnVsbH0sIlBhcmVudFN0eWxlIjpudWxsfSwiSG9yaXpvbnRhbENvbm5lY3RvclN0eWxlIjp7IiRpZCI6IjQ1MiIsIkxpbmVDb2xvciI6eyIkcmVmIjoiNjIifSwiTGluZVdlaWdodCI6MS4wLCJMaW5lVHlwZSI6MCwiUGFyZW50U3R5bGUiOm51bGx9LCJWZXJ0aWNhbENvbm5lY3RvclN0eWxlIjp7IiRpZCI6IjQ1MyIsIkxpbmVDb2xvciI6eyIkcmVmIjoiNjUifSwiTGluZVdlaWdodCI6MC4wLCJMaW5lVHlwZSI6MCwiUGFyZW50U3R5bGUiOm51bGx9LCJNYXJnaW4iOm51bGwsIlN0YXJ0RGF0ZVBvc2l0aW9uIjo2LCJFbmREYXRlUG9zaXRpb24iOjYsIkRhdGVJc1Zpc2libGUiOmZhbHNlLCJUaXRsZVBvc2l0aW9uIjoyLCJEdXJhdGlvblBvc2l0aW9uIjo2LCJQZXJjZW50YWdlQ29tcGxldGVkUG9zaXRpb24iOjYsIlNwYWNpbmciOjMsIklzQmVsb3dUaW1lYmFuZCI6dHJ1ZSwiUGVyY2VudGFnZUNvbXBsZXRlU2hhcGVPcGFjaXR5IjozNSwiU2hhcGVTdHlsZSI6eyIkaWQiOiI0NTQiLCJNYXJnaW4iOnsiJGlkIjoiNDU1IiwiVG9wIjowLjAsIkxlZnQiOjQuMCwiUmlnaHQiOjQuMCwiQm90dG9tIjowLjB9LCJQYWRkaW5nIjp7IiRpZCI6IjQ1NiIsIlRvcCI6MC4wLCJMZWZ0IjowLjAsIlJpZ2h0IjowLjAsIkJvdHRvbSI6MC4wfSwiQmFja2dyb3VuZCI6eyIkaWQiOiI0NTciLCJDb2xvciI6eyIkaWQiOiI0NTgiLCJBIjoyNTUsIlIiOjIzNywiRyI6MTI1LCJCIjo0OX19LCJJc1Zpc2libGUiOnRydWUsIldpZHRoIjowLjAsIkhlaWdodCI6MTAuMCwiQm9yZGVyU3R5bGUiOnsiJGlkIjoiNDU5IiwiTGluZUNvbG9yIjp7IiRpZCI6IjQ2MCIsIiR0eXBlIjoiTkxSRS5Db21tb24uRG9tLlNvbGlkQ29sb3JCcnVzaCwgTkxSRS5Db21tb24iLCJDb2xvciI6eyIkaWQiOiI0NjEiLCJBIjoyNTUsIlIiOjI1NSwiRyI6MCwiQiI6MH19LCJMaW5lV2VpZ2h0IjowLjAsIkxpbmVUeXBlIjowLCJQYXJlbnRTdHlsZSI6bnVsbH0sIlBhcmVudFN0eWxlIjpudWxsfSwiVGl0bGVTdHlsZSI6eyIkaWQiOiI0NjIiLCJGb250U2V0dGluZ3MiOnsiJGlkIjoiNDYzIiwiRm9udFNpemUiOjExLCJGb250TmFtZSI6IkNhbGlicmkiLCJJc0JvbGQiOnRydWUsIklzSXRhbGljIjpmYWxzZSwiSXNVbmRlcmxpbmVkIjpmYWxzZSwiUGFyZW50U3R5bGUiOm51bGx9LCJBdXRvU2l6ZSI6MCwiRm9yZWdyb3VuZCI6eyIkaWQiOiI0NjQiLCJDb2xvciI6eyIkaWQiOiI0NjUiLCJBIjoyNTUsIlIiOjI1NSwiRyI6MjU1LCJCIjoyNTV9fSwiTWF4V2lkdGgiOjk2MC4wLCJNYXhIZWlnaHQiOiJJbmZpbml0eSIsIlNtYXJ0Rm9yZWdyb3VuZElzQWN0aXZlIjpmYWxzZSwiSG9yaXpvbnRhbEFsaWdubWVudCI6MSwiVmVydGljYWxBbGlnbm1lbnQiOjAsIlNtYXJ0Rm9yZWdyb3VuZCI6bnVsbCwiQmFja2dyb3VuZEZpbGxUeXBlIjowLCJNYXJnaW4iOnsiJGlkIjoiNDY2IiwiVG9wIjowLjAsIkxlZnQiOjAuMCwiUmlnaHQiOjAuMCwiQm90dG9tIjowLjB9LCJQYWRkaW5nIjp7IiRpZCI6IjQ2NyIsIlRvcCI6MC4wLCJMZWZ0IjowLjAsIlJpZ2h0IjowLjAsIkJvdHRvbSI6MC4wfSwiQmFja2dyb3VuZCI6eyIkaWQiOiI0NjgiLCJDb2xvciI6eyIkaWQiOiI0NjkiLCJBIjowLCJSIjoyNTUsIkciOjI1NSwiQiI6MjU1fX0sIklzVmlzaWJsZSI6dHJ1ZSwiV2lkdGgiOjAuMCwiSGVpZ2h0IjowLjAsIkJvcmRlclN0eWxlIjp7IiRpZCI6IjQ3MCIsIkxpbmVDb2xvciI6bnVsbCwiTGluZVdlaWdodCI6MC4wLCJMaW5lVHlwZSI6MCwiUGFyZW50U3R5bGUiOm51bGx9LCJQYXJlbnRTdHlsZSI6bnVsbH0sIkRhdGVTdHlsZSI6eyIkaWQiOiI0NzEiLCJGb250U2V0dGluZ3MiOnsiJGlkIjoiNDcyIiwiRm9udFNpemUiOjEwLCJGb250TmFtZSI6IkNhbGlicmkiLCJJc0JvbGQiOmZhbHNlLCJJc0l0YWxpYyI6ZmFsc2UsIklzVW5kZXJsaW5lZCI6ZmFsc2UsIlBhcmVudFN0eWxlIjpudWxsfSwiQXV0b1NpemUiOjAsIkZvcmVncm91bmQiOnsiJHJlZiI6Ijg2In0sIk1heFdpZHRoIjoyMDAuMCwiTWF4SGVpZ2h0IjoiSW5maW5pdHkiLCJTbWFydEZvcmVncm91bmRJc0FjdGl2ZSI6ZmFsc2UsIkhvcml6b250YWxBbGlnbm1lbnQiOjAsIlZlcnRpY2FsQWxpZ25tZW50IjowLCJTbWFydEZvcmVncm91bmQiOm51bGwsIkJhY2tncm91bmRGaWxsVHlwZSI6MCwiTWFyZ2luIjp7IiRpZCI6IjQ3MyIsIlRvcCI6MC4wLCJMZWZ0IjowLjAsIlJpZ2h0IjowLjAsIkJvdHRvbSI6MC4wfSwiUGFkZGluZyI6eyIkaWQiOiI0NzQiLCJUb3AiOjAuMCwiTGVmdCI6MC4wLCJSaWdodCI6MC4wLCJCb3R0b20iOjAuMH0sIkJhY2tncm91bmQiOnsiJHJlZiI6IjkwIn0sIklzVmlzaWJsZSI6dHJ1ZSwiV2lkdGgiOjAuMCwiSGVpZ2h0IjowLjAsIkJvcmRlclN0eWxlIjp7IiRpZCI6IjQ3NSIsIkxpbmVDb2xvciI6bnVsbCwiTGluZVdlaWdodCI6MC4wLCJMaW5lVHlwZSI6MCwiUGFyZW50U3R5bGUiOm51bGx9LCJQYXJlbnRTdHlsZSI6bnVsbH0sIkRhdGVGb3JtYXQiOnsiJGlkIjoiNDc2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Q3NyIsIkZvcm1hdCI6MCwiSXNWaXNpYmxlIjpmYWxzZSwiTGFzdEtub3duVmlzaWJpbGl0eVN0YXRlIjpmYWxzZX0sIklzVmlzaWJsZSI6dHJ1ZSwiUGFyZW50U3R5bGUiOm51bGx9LCJJbmRleCI6MTIsIlNtYXJ0RHVyYXRpb25BY3RpdmF0ZWQiOmZhbHNlLCJEYXRlRm9ybWF0Ijp7IiRyZWYiOiI0NzYifSwiV2Vla051bWJlcmluZyI6eyIkaWQiOiI0NzgiLCJGb3JtYXQiOjAsIklzVmlzaWJsZSI6ZmFsc2UsIkxhc3RLbm93blZpc2liaWxpdHlTdGF0ZSI6ZmFsc2V9LCJJZCI6IjQ0ZGU5NzY1LWU3MjAtNDU1Ny1iODgyLTk3ZjQ3MDliOGMzMCIsIkltcG9ydElkIjpudWxsLCJUaXRsZSI6Ik1hcmtldCBBbmFseXNpcyIsIk5vdGUiOm51bGwsIkh5cGVybGluayI6eyIkaWQiOiI0NzkiLCJBZGRyZXNzIjoiIiwiU3ViQWRkcmVzcyI6IiJ9LCJJc0NoYW5nZWQiOmZhbHNlLCJJc05ldyI6ZmFsc2V9fSx7IiRpZCI6IjQ4MCIsIl9hdHRhY2hlZE1pbGVzdG9uZXMiOltdLCJUYXNrRGVmaW5pdGlvbiI6eyIkaWQiOiI0ODEiLCJHcm91cE5hbWUiOiIxZWRmM2Q2My1hMmYzLTQzODgtYWRhYS00MzU1OWMzZTBmN2EiLCJTdGFydERhdGUiOiIyMDIyLTA0LTAyVDAwOjAwOjAwWiIsIkVuZERhdGUiOiIyMDIyLTA0LTI4VDA3OjE4OjAwWiIsIlBlcmNlbnRhZ2VDb21wbGV0ZSI6bnVsbCwiU3R5bGUiOnsiJGlkIjoiNDgyIiwiU2hhcGUiOjcsIlNoYXBlVGhpY2tuZXNzIjowLCJEdXJhdGlvbkZvcm1hdCI6MCwiSW5jbHVkZU5vbldvcmtpbmdEYXlzSW5EdXJhdGlvbiI6ZmFsc2UsIlBlcmNlbnRhZ2VDb21wbGV0ZVN0eWxlIjp7IiRpZCI6IjQ4MyIsIkZvbnRTZXR0aW5ncyI6eyIkaWQiOiI0ODQiLCJGb250U2l6ZSI6MTAsIkZvbnROYW1lIjoiQ2FsaWJyaSIsIklzQm9sZCI6ZmFsc2UsIklzSXRhbGljIjpmYWxzZSwiSXNVbmRlcmxpbmVkIjpmYWxzZSwiUGFyZW50U3R5bGUiOm51bGx9LCJBdXRvU2l6ZSI6MCwiRm9yZWdyb3VuZCI6eyIkcmVmIjoiNDQxIn0sIk1heFdpZHRoIjoyMDAuMCwiTWF4SGVpZ2h0IjoiSW5maW5pdHkiLCJTbWFydEZvcmVncm91bmRJc0FjdGl2ZSI6ZmFsc2UsIkhvcml6b250YWxBbGlnbm1lbnQiOjAsIlZlcnRpY2FsQWxpZ25tZW50IjowLCJTbWFydEZvcmVncm91bmQiOm51bGwsIkJhY2tncm91bmRGaWxsVHlwZSI6MCwiTWFyZ2luIjp7IiRpZCI6IjQ4NSIsIlRvcCI6MC4wLCJMZWZ0IjowLjAsIlJpZ2h0IjowLjAsIkJvdHRvbSI6MC4wfSwiUGFkZGluZyI6eyIkaWQiOiI0ODYiLCJUb3AiOjAuMCwiTGVmdCI6MC4wLCJSaWdodCI6MC4wLCJCb3R0b20iOjAuMH0sIkJhY2tncm91bmQiOnsiJHJlZiI6IjIzMyJ9LCJJc1Zpc2libGUiOnRydWUsIldpZHRoIjowLjAsIkhlaWdodCI6MC4wLCJCb3JkZXJTdHlsZSI6eyIkaWQiOiI0ODciLCJMaW5lQ29sb3IiOm51bGwsIkxpbmVXZWlnaHQiOjAuMCwiTGluZVR5cGUiOjAsIlBhcmVudFN0eWxlIjpudWxsfSwiUGFyZW50U3R5bGUiOm51bGx9LCJEdXJhdGlvblN0eWxlIjp7IiRpZCI6IjQ4OCIsIkZvbnRTZXR0aW5ncyI6eyIkaWQiOiI0ODkiLCJGb250U2l6ZSI6MTAsIkZvbnROYW1lIjoiQ2FsaWJyaSIsIklzQm9sZCI6ZmFsc2UsIklzSXRhbGljIjpmYWxzZSwiSXNVbmRlcmxpbmVkIjpmYWxzZSwiUGFyZW50U3R5bGUiOm51bGx9LCJBdXRvU2l6ZSI6MCwiRm9yZWdyb3VuZCI6eyIkaWQiOiI0OTAiLCJDb2xvciI6eyIkcmVmIjoiNTUifX0sIk1heFdpZHRoIjoyMDAuMCwiTWF4SGVpZ2h0IjoiSW5maW5pdHkiLCJTbWFydEZvcmVncm91bmRJc0FjdGl2ZSI6ZmFsc2UsIkhvcml6b250YWxBbGlnbm1lbnQiOjAsIlZlcnRpY2FsQWxpZ25tZW50IjowLCJTbWFydEZvcmVncm91bmQiOm51bGwsIkJhY2tncm91bmRGaWxsVHlwZSI6MCwiTWFyZ2luIjp7IiRpZCI6IjQ5MSIsIlRvcCI6MC4wLCJMZWZ0IjowLjAsIlJpZ2h0IjowLjAsIkJvdHRvbSI6MC4wfSwiUGFkZGluZyI6eyIkaWQiOiI0OTIiLCJUb3AiOjAuMCwiTGVmdCI6MC4wLCJSaWdodCI6MC4wLCJCb3R0b20iOjAuMH0sIkJhY2tncm91bmQiOnsiJHJlZiI6IjU4In0sIklzVmlzaWJsZSI6dHJ1ZSwiV2lkdGgiOjAuMCwiSGVpZ2h0IjowLjAsIkJvcmRlclN0eWxlIjp7IiRpZCI6IjQ5MyIsIkxpbmVDb2xvciI6bnVsbCwiTGluZVdlaWdodCI6MC4wLCJMaW5lVHlwZSI6MCwiUGFyZW50U3R5bGUiOm51bGx9LCJQYXJlbnRTdHlsZSI6bnVsbH0sIkhvcml6b250YWxDb25uZWN0b3JTdHlsZSI6eyIkaWQiOiI0OTQiLCJMaW5lQ29sb3IiOnsiJHJlZiI6IjYyIn0sIkxpbmVXZWlnaHQiOjEuMCwiTGluZVR5cGUiOjAsIlBhcmVudFN0eWxlIjpudWxsfSwiVmVydGljYWxDb25uZWN0b3JTdHlsZSI6eyIkaWQiOiI0OTUiLCJMaW5lQ29sb3IiOnsiJHJlZiI6IjY1In0sIkxpbmVXZWlnaHQiOjAuMCwiTGluZVR5cGUiOjAsIlBhcmVudFN0eWxlIjpudWxsfSwiTWFyZ2luIjpudWxsLCJTdGFydERhdGVQb3NpdGlvbiI6NiwiRW5kRGF0ZVBvc2l0aW9uIjo2LCJEYXRlSXNWaXNpYmxlIjpmYWxzZSwiVGl0bGVQb3NpdGlvbiI6MiwiRHVyYXRpb25Qb3NpdGlvbiI6NiwiUGVyY2VudGFnZUNvbXBsZXRlZFBvc2l0aW9uIjo2LCJTcGFjaW5nIjozLCJJc0JlbG93VGltZWJhbmQiOnRydWUsIlBlcmNlbnRhZ2VDb21wbGV0ZVNoYXBlT3BhY2l0eSI6MzUsIlNoYXBlU3R5bGUiOnsiJGlkIjoiNDk2IiwiTWFyZ2luIjp7IiRpZCI6IjQ5NyIsIlRvcCI6MC4wLCJMZWZ0Ijo0LjAsIlJpZ2h0Ijo0LjAsIkJvdHRvbSI6MC4wfSwiUGFkZGluZyI6eyIkaWQiOiI0OTgiLCJUb3AiOjAuMCwiTGVmdCI6MC4wLCJSaWdodCI6MC4wLCJCb3R0b20iOjAuMH0sIkJhY2tncm91bmQiOnsiJGlkIjoiNDk5IiwiQ29sb3IiOnsiJGlkIjoiNTAwIiwiQSI6MjU1LCJSIjoyMzcsIkciOjEyNSwiQiI6NDl9fSwiSXNWaXNpYmxlIjp0cnVlLCJXaWR0aCI6MC4wLCJIZWlnaHQiOjEwLjAsIkJvcmRlclN0eWxlIjp7IiRpZCI6IjUwMSIsIkxpbmVDb2xvciI6eyIkaWQiOiI1MDIiLCIkdHlwZSI6Ik5MUkUuQ29tbW9uLkRvbS5Tb2xpZENvbG9yQnJ1c2gsIE5MUkUuQ29tbW9uIiwiQ29sb3IiOnsiJGlkIjoiNTAzIiwiQSI6MjU1LCJSIjoyNTUsIkciOjAsIkIiOjB9fSwiTGluZVdlaWdodCI6MC4wLCJMaW5lVHlwZSI6MCwiUGFyZW50U3R5bGUiOm51bGx9LCJQYXJlbnRTdHlsZSI6bnVsbH0sIlRpdGxlU3R5bGUiOnsiJGlkIjoiNTA0IiwiRm9udFNldHRpbmdzIjp7IiRpZCI6IjUwNSIsIkZvbnRTaXplIjoxMSwiRm9udE5hbWUiOiJDYWxpYnJpIiwiSXNCb2xkIjp0cnVlLCJJc0l0YWxpYyI6ZmFsc2UsIklzVW5kZXJsaW5lZCI6ZmFsc2UsIlBhcmVudFN0eWxlIjpudWxsfSwiQXV0b1NpemUiOjAsIkZvcmVncm91bmQiOnsiJGlkIjoiNTA2IiwiQ29sb3IiOnsiJGlkIjoiNTA3IiwiQSI6MjU1LCJSIjoyNTUsIkciOjI1NSwiQiI6MjU1fX0sIk1heFdpZHRoIjo5NjAuMCwiTWF4SGVpZ2h0IjoiSW5maW5pdHkiLCJTbWFydEZvcmVncm91bmRJc0FjdGl2ZSI6ZmFsc2UsIkhvcml6b250YWxBbGlnbm1lbnQiOjEsIlZlcnRpY2FsQWxpZ25tZW50IjowLCJTbWFydEZvcmVncm91bmQiOm51bGwsIkJhY2tncm91bmRGaWxsVHlwZSI6MCwiTWFyZ2luIjp7IiRpZCI6IjUwOCIsIlRvcCI6MC4wLCJMZWZ0IjowLjAsIlJpZ2h0IjowLjAsIkJvdHRvbSI6MC4wfSwiUGFkZGluZyI6eyIkaWQiOiI1MDkiLCJUb3AiOjAuMCwiTGVmdCI6MC4wLCJSaWdodCI6MC4wLCJCb3R0b20iOjAuMH0sIkJhY2tncm91bmQiOnsiJGlkIjoiNTEwIiwiQ29sb3IiOnsiJGlkIjoiNTExIiwiQSI6MCwiUiI6MjU1LCJHIjoyNTUsIkIiOjI1NX19LCJJc1Zpc2libGUiOnRydWUsIldpZHRoIjowLjAsIkhlaWdodCI6MC4wLCJCb3JkZXJTdHlsZSI6eyIkaWQiOiI1MTIiLCJMaW5lQ29sb3IiOm51bGwsIkxpbmVXZWlnaHQiOjAuMCwiTGluZVR5cGUiOjAsIlBhcmVudFN0eWxlIjpudWxsfSwiUGFyZW50U3R5bGUiOm51bGx9LCJEYXRlU3R5bGUiOnsiJGlkIjoiNTEzIiwiRm9udFNldHRpbmdzIjp7IiRpZCI6IjUxNCIsIkZvbnRTaXplIjoxMCwiRm9udE5hbWUiOiJDYWxpYnJpIiwiSXNCb2xkIjpmYWxzZSwiSXNJdGFsaWMiOmZhbHNlLCJJc1VuZGVybGluZWQiOmZhbHNlLCJQYXJlbnRTdHlsZSI6bnVsbH0sIkF1dG9TaXplIjowLCJGb3JlZ3JvdW5kIjp7IiRyZWYiOiI4NiJ9LCJNYXhXaWR0aCI6MjAwLjAsIk1heEhlaWdodCI6IkluZmluaXR5IiwiU21hcnRGb3JlZ3JvdW5kSXNBY3RpdmUiOmZhbHNlLCJIb3Jpem9udGFsQWxpZ25tZW50IjowLCJWZXJ0aWNhbEFsaWdubWVudCI6MCwiU21hcnRGb3JlZ3JvdW5kIjpudWxsLCJCYWNrZ3JvdW5kRmlsbFR5cGUiOjAsIk1hcmdpbiI6eyIkaWQiOiI1MTUiLCJUb3AiOjAuMCwiTGVmdCI6MC4wLCJSaWdodCI6MC4wLCJCb3R0b20iOjAuMH0sIlBhZGRpbmciOnsiJGlkIjoiNTE2IiwiVG9wIjowLjAsIkxlZnQiOjAuMCwiUmlnaHQiOjAuMCwiQm90dG9tIjowLjB9LCJCYWNrZ3JvdW5kIjp7IiRyZWYiOiI5MCJ9LCJJc1Zpc2libGUiOnRydWUsIldpZHRoIjowLjAsIkhlaWdodCI6MC4wLCJCb3JkZXJTdHlsZSI6eyIkaWQiOiI1MTciLCJMaW5lQ29sb3IiOm51bGwsIkxpbmVXZWlnaHQiOjAuMCwiTGluZVR5cGUiOjAsIlBhcmVudFN0eWxlIjpudWxsfSwiUGFyZW50U3R5bGUiOm51bGx9LCJEYXRlRm9ybWF0Ijp7IiRpZCI6IjUxOC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1MTkiLCJGb3JtYXQiOjAsIklzVmlzaWJsZSI6ZmFsc2UsIkxhc3RLbm93blZpc2liaWxpdHlTdGF0ZSI6ZmFsc2V9LCJJc1Zpc2libGUiOnRydWUsIlBhcmVudFN0eWxlIjpudWxsfSwiSW5kZXgiOjE0LCJTbWFydER1cmF0aW9uQWN0aXZhdGVkIjpmYWxzZSwiRGF0ZUZvcm1hdCI6eyIkcmVmIjoiNTE4In0sIldlZWtOdW1iZXJpbmciOnsiJGlkIjoiNTIwIiwiRm9ybWF0IjowLCJJc1Zpc2libGUiOmZhbHNlLCJMYXN0S25vd25WaXNpYmlsaXR5U3RhdGUiOmZhbHNlfSwiSWQiOiI4ZDM4YWJmNi00MzRmLTQ5YjUtOWRjMi00YWUxZWUzNjkzNWUiLCJJbXBvcnRJZCI6bnVsbCwiVGl0bGUiOiJTV09UIiwiTm90ZSI6bnVsbCwiSHlwZXJsaW5rIjp7IiRpZCI6IjUyMSIsIkFkZHJlc3MiOiIiLCJTdWJBZGRyZXNzIjoiIn0sIklzQ2hhbmdlZCI6ZmFsc2UsIklzTmV3IjpmYWxzZX19XSwiX21pbGVzdG9uZXMiOltdLCJJZCI6IjFlZGYzZDYzLWEyZjMtNDM4OC1hZGFhLTQzNTU5YzNlMGY3YSIsIklzU2luZ2xlSXRlbVJvdyI6ZmFsc2V9LHsiJGlkIjoiNTIyIiwiX3Rhc2tzIjpbeyIkaWQiOiI1MjMiLCJfYXR0YWNoZWRNaWxlc3RvbmVzIjpbeyIkaWQiOiI1MjQiLCJEYXRlIjoiMjAyMi0wNi0wN1QyMzo1OTowMCIsIlN0eWxlIjp7IiRpZCI6IjUyNSIsIlNoYXBlIjoxNCwiQ29ubmVjdG9yTWFyZ2luIjp7IiRpZCI6IjUyNiIsIlRvcCI6MC4wLCJMZWZ0IjoyLjAsIlJpZ2h0IjoyLjAsIkJvdHRvbSI6MC4wfSwiQ29ubmVjdG9yU3R5bGUiOnsiJGlkIjoiNTI3IiwiTGluZUNvbG9yIjp7IiRpZCI6IjUyOCIsIiR0eXBlIjoiTkxSRS5Db21tb24uRG9tLlNvbGlkQ29sb3JCcnVzaCwgTkxSRS5Db21tb24iLCJDb2xvciI6eyIkaWQiOiI1MjkiLCJBIjoxMjcsIlIiOjEzMiwiRyI6NjAsIkIiOjEyfX0sIkxpbmVXZWlnaHQiOjEuMCwiTGluZVR5cGUiOjAsIlBhcmVudFN0eWxlIjpudWxsfSwiSXNCZWxvd1RpbWViYW5kIjp0cnVlLCJQb3NpdGlvbk9uVGFzayI6MywiSGlkZURhdGUiOmZhbHNlLCJTaGFwZVNpemUiOjEsIlNwYWNpbmciOjEuMCwiUGFkZGluZyI6eyIkcmVmIjoiMTIifSwiU2hhcGVTdHlsZSI6eyIkaWQiOiI1MzAiLCJNYXJnaW4iOnsiJHJlZiI6IjI3NyJ9LCJQYWRkaW5nIjp7IiRyZWYiOiIyNzgifSwiQmFja2dyb3VuZCI6eyIkaWQiOiI1MzEiLCJDb2xvciI6eyIkaWQiOiI1MzIiLCJBIjoyNTUsIlIiOjEzMiwiRyI6NjAsIkIiOjEyfX0sIklzVmlzaWJsZSI6dHJ1ZSwiV2lkdGgiOjE4LjAsIkhlaWdodCI6MjAuMCwiQm9yZGVyU3R5bGUiOnsiJGlkIjoiNTMzIiwiTGluZUNvbG9yIjpudWxsLCJMaW5lV2VpZ2h0IjowLjAsIkxpbmVUeXBlIjowLCJQYXJlbnRTdHlsZSI6bnVsbH0sIlBhcmVudFN0eWxlIjpudWxsfSwiVGl0bGVTdHlsZSI6eyIkaWQiOiI1MzQiLCJGb250U2V0dGluZ3MiOnsiJGlkIjoiNTM1IiwiRm9udFNpemUiOjExLCJGb250TmFtZSI6IkNhbGlicmkiLCJJc0JvbGQiOnRydWUsIklzSXRhbGljIjpmYWxzZSwiSXNVbmRlcmxpbmVkIjpmYWxzZSwiUGFyZW50U3R5bGUiOm51bGx9LCJBdXRvU2l6ZSI6MCwiRm9yZWdyb3VuZCI6eyIkaWQiOiI1MzYiLCJDb2xvciI6eyIkaWQiOiI1Mzc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I4NiJ9LCJQYWRkaW5nIjp7IiRyZWYiOiIyODcifSwiQmFja2dyb3VuZCI6eyIkaWQiOiI1MzgiLCJDb2xvciI6eyIkaWQiOiI1MzkiLCJBIjowLCJSIjoyNTUsIkciOjI1NSwiQiI6MjU1fX0sIklzVmlzaWJsZSI6dHJ1ZSwiV2lkdGgiOjAuMCwiSGVpZ2h0IjowLjAsIkJvcmRlclN0eWxlIjp7IiRpZCI6IjU0MCIsIkxpbmVDb2xvciI6bnVsbCwiTGluZVdlaWdodCI6MC4wLCJMaW5lVHlwZSI6MCwiUGFyZW50U3R5bGUiOm51bGx9LCJQYXJlbnRTdHlsZSI6bnVsbH0sIkRhdGVTdHlsZSI6eyIkaWQiOiI1NDEiLCJGb250U2V0dGluZ3MiOnsiJGlkIjoiNTQyIiwiRm9udFNpemUiOjEwLCJGb250TmFtZSI6IkNhbGlicmkiLCJJc0JvbGQiOmZhbHNlLCJJc0l0YWxpYyI6ZmFsc2UsIklzVW5kZXJsaW5lZCI6ZmFsc2UsIlBhcmVudFN0eWxlIjpudWxsfSwiQXV0b1NpemUiOjAsIkZvcmVncm91bmQiOnsiJGlkIjoiNTQzIiwiQ29sb3IiOnsiJGlkIjoiNTQ0IiwiQSI6MjU1LCJSIjo2OCwiRyI6ODQsIkIiOjEwNn19LCJNYXhXaWR0aCI6MjAwLjAsIk1heEhlaWdodCI6IkluZmluaXR5IiwiU21hcnRGb3JlZ3JvdW5kSXNBY3RpdmUiOmZhbHNlLCJIb3Jpem9udGFsQWxpZ25tZW50IjoyLCJWZXJ0aWNhbEFsaWdubWVudCI6MCwiU21hcnRGb3JlZ3JvdW5kIjpudWxsLCJCYWNrZ3JvdW5kRmlsbFR5cGUiOjAsIk1hcmdpbiI6eyIkcmVmIjoiMjk1In0sIlBhZGRpbmciOnsiJHJlZiI6IjI5NiJ9LCJCYWNrZ3JvdW5kIjp7IiRpZCI6IjU0NSIsIkNvbG9yIjp7IiRpZCI6IjU0NiIsIkEiOjAsIlIiOjI1NSwiRyI6MjU1LCJCIjoyNTV9fSwiSXNWaXNpYmxlIjpmYWxzZSwiV2lkdGgiOjAuMCwiSGVpZ2h0IjowLjAsIkJvcmRlclN0eWxlIjp7IiRpZCI6IjU0NyIsIkxpbmVDb2xvciI6bnVsbCwiTGluZVdlaWdodCI6MC4wLCJMaW5lVHlwZSI6MCwiUGFyZW50U3R5bGUiOm51bGx9LCJQYXJlbnRTdHlsZSI6bnVsbH0sIkRhdGVGb3JtYXQiOnsiJGlkIjoiNTQ4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U0OSIsIkZvcm1hdCI6MCwiSXNWaXNpYmxlIjpmYWxzZSwiTGFzdEtub3duVmlzaWJpbGl0eVN0YXRlIjpmYWxzZX0sIklzVmlzaWJsZSI6dHJ1ZSwiUGFyZW50U3R5bGUiOm51bGx9LCJJbmRleCI6MTYsIlBlcmNlbnRhZ2VDb21wbGV0ZSI6bnVsbCwiUG9zaXRpb24iOnsiUmF0aW8iOjAuMCwiSXNDdXN0b20iOmZhbHNlfSwiRGF0ZUZvcm1hdCI6eyIkcmVmIjoiNTQ4In0sIldlZWtOdW1iZXJpbmciOnsiJGlkIjoiNTUwIiwiRm9ybWF0IjowLCJJc1Zpc2libGUiOmZhbHNlLCJMYXN0S25vd25WaXNpYmlsaXR5U3RhdGUiOmZhbHNlfSwiUmVsYXRlZFRhc2tJZCI6ImM3NzcwZWIzLWU0MzQtNDQ1MC04M2ViLWYwY2RhNTMyNDFjNyIsIklkIjoiNWYyMmUyOTUtMjY5Zi00MmU5LWIxY2UtOThiNDExOGFiM2QwIiwiSW1wb3J0SWQiOm51bGwsIlRpdGxlIjoiUHJpY2UgTGlzdCAoSHlwb3RoZXNpcykiLCJOb3RlIjpudWxsLCJIeXBlcmxpbmsiOnsiJGlkIjoiNTUxIiwiQWRkcmVzcyI6IiIsIlN1YkFkZHJlc3MiOiIifSwiSXNDaGFuZ2VkIjpmYWxzZSwiSXNOZXciOmZhbHNlfV0sIlRhc2tEZWZpbml0aW9uIjp7IiRpZCI6IjU1MiIsIkdyb3VwTmFtZSI6ImRhYjlkNDkxLWM3MWItNGQ5OS1hZWExLTNjYWMwMWQyMjcyZiIsIlN0YXJ0RGF0ZSI6IjIwMjItMDQtMDJUMDA6MDA6MDBaIiwiRW5kRGF0ZSI6IjIwMjItMDYtMTBUMjM6NTk6MDBaIiwiUGVyY2VudGFnZUNvbXBsZXRlIjpudWxsLCJTdHlsZSI6eyIkaWQiOiI1NTMiLCJTaGFwZSI6NywiU2hhcGVUaGlja25lc3MiOjAsIkR1cmF0aW9uRm9ybWF0IjowLCJJbmNsdWRlTm9uV29ya2luZ0RheXNJbkR1cmF0aW9uIjpmYWxzZSwiUGVyY2VudGFnZUNvbXBsZXRlU3R5bGUiOnsiJGlkIjoiNTU0IiwiRm9udFNldHRpbmdzIjp7IiRpZCI6IjU1NSIsIkZvbnRTaXplIjoxMCwiRm9udE5hbWUiOiJDYWxpYnJpIiwiSXNCb2xkIjpmYWxzZSwiSXNJdGFsaWMiOmZhbHNlLCJJc1VuZGVybGluZWQiOmZhbHNlLCJQYXJlbnRTdHlsZSI6bnVsbH0sIkF1dG9TaXplIjowLCJGb3JlZ3JvdW5kIjp7IiRyZWYiOiI0NDEifSwiTWF4V2lkdGgiOjIwMC4wLCJNYXhIZWlnaHQiOiJJbmZpbml0eSIsIlNtYXJ0Rm9yZWdyb3VuZElzQWN0aXZlIjpmYWxzZSwiSG9yaXpvbnRhbEFsaWdubWVudCI6MCwiVmVydGljYWxBbGlnbm1lbnQiOjAsIlNtYXJ0Rm9yZWdyb3VuZCI6bnVsbCwiQmFja2dyb3VuZEZpbGxUeXBlIjowLCJNYXJnaW4iOnsiJGlkIjoiNTU2IiwiVG9wIjowLjAsIkxlZnQiOjAuMCwiUmlnaHQiOjAuMCwiQm90dG9tIjowLjB9LCJQYWRkaW5nIjp7IiRpZCI6IjU1NyIsIlRvcCI6MC4wLCJMZWZ0IjowLjAsIlJpZ2h0IjowLjAsIkJvdHRvbSI6MC4wfSwiQmFja2dyb3VuZCI6eyIkcmVmIjoiMjMzIn0sIklzVmlzaWJsZSI6dHJ1ZSwiV2lkdGgiOjAuMCwiSGVpZ2h0IjowLjAsIkJvcmRlclN0eWxlIjp7IiRpZCI6IjU1OCIsIkxpbmVDb2xvciI6bnVsbCwiTGluZVdlaWdodCI6MC4wLCJMaW5lVHlwZSI6MCwiUGFyZW50U3R5bGUiOm51bGx9LCJQYXJlbnRTdHlsZSI6bnVsbH0sIkR1cmF0aW9uU3R5bGUiOnsiJGlkIjoiNTU5IiwiRm9udFNldHRpbmdzIjp7IiRpZCI6IjU2MCIsIkZvbnRTaXplIjoxMCwiRm9udE5hbWUiOiJDYWxpYnJpIiwiSXNCb2xkIjpmYWxzZSwiSXNJdGFsaWMiOmZhbHNlLCJJc1VuZGVybGluZWQiOmZhbHNlLCJQYXJlbnRTdHlsZSI6bnVsbH0sIkF1dG9TaXplIjowLCJGb3JlZ3JvdW5kIjp7IiRpZCI6IjU2MSIsIkNvbG9yIjp7IiRyZWYiOiI1NSJ9fSwiTWF4V2lkdGgiOjIwMC4wLCJNYXhIZWlnaHQiOiJJbmZpbml0eSIsIlNtYXJ0Rm9yZWdyb3VuZElzQWN0aXZlIjpmYWxzZSwiSG9yaXpvbnRhbEFsaWdubWVudCI6MCwiVmVydGljYWxBbGlnbm1lbnQiOjAsIlNtYXJ0Rm9yZWdyb3VuZCI6bnVsbCwiQmFja2dyb3VuZEZpbGxUeXBlIjowLCJNYXJnaW4iOnsiJGlkIjoiNTYyIiwiVG9wIjowLjAsIkxlZnQiOjAuMCwiUmlnaHQiOjAuMCwiQm90dG9tIjowLjB9LCJQYWRkaW5nIjp7IiRpZCI6IjU2MyIsIlRvcCI6MC4wLCJMZWZ0IjowLjAsIlJpZ2h0IjowLjAsIkJvdHRvbSI6MC4wfSwiQmFja2dyb3VuZCI6eyIkcmVmIjoiNTgifSwiSXNWaXNpYmxlIjp0cnVlLCJXaWR0aCI6MC4wLCJIZWlnaHQiOjAuMCwiQm9yZGVyU3R5bGUiOnsiJGlkIjoiNTY0IiwiTGluZUNvbG9yIjpudWxsLCJMaW5lV2VpZ2h0IjowLjAsIkxpbmVUeXBlIjowLCJQYXJlbnRTdHlsZSI6bnVsbH0sIlBhcmVudFN0eWxlIjpudWxsfSwiSG9yaXpvbnRhbENvbm5lY3RvclN0eWxlIjp7IiRpZCI6IjU2NSIsIkxpbmVDb2xvciI6eyIkcmVmIjoiNjIifSwiTGluZVdlaWdodCI6MS4wLCJMaW5lVHlwZSI6MCwiUGFyZW50U3R5bGUiOm51bGx9LCJWZXJ0aWNhbENvbm5lY3RvclN0eWxlIjp7IiRpZCI6IjU2NiIsIkxpbmVDb2xvciI6eyIkcmVmIjoiNjUifSwiTGluZVdlaWdodCI6MC4wLCJMaW5lVHlwZSI6MCwiUGFyZW50U3R5bGUiOm51bGx9LCJNYXJnaW4iOm51bGwsIlN0YXJ0RGF0ZVBvc2l0aW9uIjo2LCJFbmREYXRlUG9zaXRpb24iOjYsIkRhdGVJc1Zpc2libGUiOmZhbHNlLCJUaXRsZVBvc2l0aW9uIjoyLCJEdXJhdGlvblBvc2l0aW9uIjo2LCJQZXJjZW50YWdlQ29tcGxldGVkUG9zaXRpb24iOjYsIlNwYWNpbmciOjMsIklzQmVsb3dUaW1lYmFuZCI6dHJ1ZSwiUGVyY2VudGFnZUNvbXBsZXRlU2hhcGVPcGFjaXR5IjozNSwiU2hhcGVTdHlsZSI6eyIkaWQiOiI1NjciLCJNYXJnaW4iOnsiJGlkIjoiNTY4IiwiVG9wIjowLjAsIkxlZnQiOjQuMCwiUmlnaHQiOjQuMCwiQm90dG9tIjowLjB9LCJQYWRkaW5nIjp7IiRpZCI6IjU2OSIsIlRvcCI6MC4wLCJMZWZ0IjowLjAsIlJpZ2h0IjowLjAsIkJvdHRvbSI6MC4wfSwiQmFja2dyb3VuZCI6eyIkaWQiOiI1NzAiLCJDb2xvciI6eyIkaWQiOiI1NzEiLCJBIjoyNTUsIlIiOjIzNywiRyI6MTI1LCJCIjo0OX19LCJJc1Zpc2libGUiOnRydWUsIldpZHRoIjowLjAsIkhlaWdodCI6MTAuMCwiQm9yZGVyU3R5bGUiOnsiJGlkIjoiNTcyIiwiTGluZUNvbG9yIjp7IiRpZCI6IjU3MyIsIiR0eXBlIjoiTkxSRS5Db21tb24uRG9tLlNvbGlkQ29sb3JCcnVzaCwgTkxSRS5Db21tb24iLCJDb2xvciI6eyIkaWQiOiI1NzQiLCJBIjoyNTUsIlIiOjI1NSwiRyI6MCwiQiI6MH19LCJMaW5lV2VpZ2h0IjowLjAsIkxpbmVUeXBlIjowLCJQYXJlbnRTdHlsZSI6bnVsbH0sIlBhcmVudFN0eWxlIjpudWxsfSwiVGl0bGVTdHlsZSI6eyIkaWQiOiI1NzUiLCJGb250U2V0dGluZ3MiOnsiJGlkIjoiNTc2IiwiRm9udFNpemUiOjExLCJGb250TmFtZSI6IkNhbGlicmkiLCJJc0JvbGQiOnRydWUsIklzSXRhbGljIjpmYWxzZSwiSXNVbmRlcmxpbmVkIjpmYWxzZSwiUGFyZW50U3R5bGUiOm51bGx9LCJBdXRvU2l6ZSI6MiwiRm9yZWdyb3VuZCI6eyIkaWQiOiI1NzciLCJDb2xvciI6eyIkaWQiOiI1NzgiLCJBIjoyNTUsIlIiOjI1NSwiRyI6MjU1LCJCIjoyNTV9fSwiTWF4V2lkdGgiOjcxLjUyMzMzMzMzMzMzMzM0MSwiTWF4SGVpZ2h0IjoiSW5maW5pdHkiLCJTbWFydEZvcmVncm91bmRJc0FjdGl2ZSI6ZmFsc2UsIkhvcml6b250YWxBbGlnbm1lbnQiOjEsIlZlcnRpY2FsQWxpZ25tZW50IjowLCJTbWFydEZvcmVncm91bmQiOm51bGwsIkJhY2tncm91bmRGaWxsVHlwZSI6MCwiTWFyZ2luIjp7IiRpZCI6IjU3OSIsIlRvcCI6MC4wLCJMZWZ0IjowLjAsIlJpZ2h0IjowLjAsIkJvdHRvbSI6MC4wfSwiUGFkZGluZyI6eyIkaWQiOiI1ODAiLCJUb3AiOjAuMCwiTGVmdCI6MC4wLCJSaWdodCI6MC4wLCJCb3R0b20iOjAuMH0sIkJhY2tncm91bmQiOnsiJGlkIjoiNTgxIiwiQ29sb3IiOnsiJGlkIjoiNTgyIiwiQSI6MCwiUiI6MjU1LCJHIjoyNTUsIkIiOjI1NX19LCJJc1Zpc2libGUiOnRydWUsIldpZHRoIjowLjAsIkhlaWdodCI6MC4wLCJCb3JkZXJTdHlsZSI6eyIkaWQiOiI1ODMiLCJMaW5lQ29sb3IiOm51bGwsIkxpbmVXZWlnaHQiOjAuMCwiTGluZVR5cGUiOjAsIlBhcmVudFN0eWxlIjpudWxsfSwiUGFyZW50U3R5bGUiOm51bGx9LCJEYXRlU3R5bGUiOnsiJGlkIjoiNTg0IiwiRm9udFNldHRpbmdzIjp7IiRpZCI6IjU4NSIsIkZvbnRTaXplIjoxMCwiRm9udE5hbWUiOiJDYWxpYnJpIiwiSXNCb2xkIjpmYWxzZSwiSXNJdGFsaWMiOmZhbHNlLCJJc1VuZGVybGluZWQiOmZhbHNlLCJQYXJlbnRTdHlsZSI6bnVsbH0sIkF1dG9TaXplIjowLCJGb3JlZ3JvdW5kIjp7IiRyZWYiOiI4NiJ9LCJNYXhXaWR0aCI6MjAwLjAsIk1heEhlaWdodCI6IkluZmluaXR5IiwiU21hcnRGb3JlZ3JvdW5kSXNBY3RpdmUiOmZhbHNlLCJIb3Jpem9udGFsQWxpZ25tZW50IjoyLCJWZXJ0aWNhbEFsaWdubWVudCI6MCwiU21hcnRGb3JlZ3JvdW5kIjpudWxsLCJCYWNrZ3JvdW5kRmlsbFR5cGUiOjAsIk1hcmdpbiI6eyIkaWQiOiI1ODYiLCJUb3AiOjAuMCwiTGVmdCI6MC4wLCJSaWdodCI6MC4wLCJCb3R0b20iOjAuMH0sIlBhZGRpbmciOnsiJGlkIjoiNTg3IiwiVG9wIjowLjAsIkxlZnQiOjAuMCwiUmlnaHQiOjAuMCwiQm90dG9tIjowLjB9LCJCYWNrZ3JvdW5kIjp7IiRyZWYiOiI5MCJ9LCJJc1Zpc2libGUiOnRydWUsIldpZHRoIjowLjAsIkhlaWdodCI6MC4wLCJCb3JkZXJTdHlsZSI6eyIkaWQiOiI1ODgiLCJMaW5lQ29sb3IiOm51bGwsIkxpbmVXZWlnaHQiOjAuMCwiTGluZVR5cGUiOjAsIlBhcmVudFN0eWxlIjpudWxsfSwiUGFyZW50U3R5bGUiOm51bGx9LCJEYXRlRm9ybWF0Ijp7IiRpZCI6IjU4OS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1OTAiLCJGb3JtYXQiOjAsIklzVmlzaWJsZSI6ZmFsc2UsIkxhc3RLbm93blZpc2liaWxpdHlTdGF0ZSI6ZmFsc2V9LCJJc1Zpc2libGUiOnRydWUsIlBhcmVudFN0eWxlIjpudWxsfSwiSW5kZXgiOjE1LCJTbWFydER1cmF0aW9uQWN0aXZhdGVkIjpmYWxzZSwiRGF0ZUZvcm1hdCI6eyIkcmVmIjoiNTg5In0sIldlZWtOdW1iZXJpbmciOnsiJGlkIjoiNTkxIiwiRm9ybWF0IjowLCJJc1Zpc2libGUiOmZhbHNlLCJMYXN0S25vd25WaXNpYmlsaXR5U3RhdGUiOmZhbHNlfSwiSWQiOiJjNzc3MGViMy1lNDM0LTQ0NTAtODNlYi1mMGNkYTUzMjQxYzciLCJJbXBvcnRJZCI6bnVsbCwiVGl0bGUiOiJCdXNpbmVzcyBNb2RlbCIsIk5vdGUiOm51bGwsIkh5cGVybGluayI6eyIkaWQiOiI1OTIiLCJBZGRyZXNzIjoiIiwiU3ViQWRkcmVzcyI6IiJ9LCJJc0NoYW5nZWQiOmZhbHNlLCJJc05ldyI6ZmFsc2V9fSx7IiRpZCI6IjU5MyIsIl9hdHRhY2hlZE1pbGVzdG9uZXMiOltdLCJUYXNrRGVmaW5pdGlvbiI6eyIkaWQiOiI1OTQiLCJHcm91cE5hbWUiOiJkYWI5ZDQ5MS1jNzFiLTRkOTktYWVhMS0zY2FjMDFkMjI3MmYiLCJTdGFydERhdGUiOiIyMDIyLTA2LTA1VDIzOjUxOjAwWiIsIkVuZERhdGUiOiIyMDIyLTA4LTA1VDEyOjU1OjAwWiIsIlBlcmNlbnRhZ2VDb21wbGV0ZSI6bnVsbCwiU3R5bGUiOnsiJGlkIjoiNTk1IiwiU2hhcGUiOjcsIlNoYXBlVGhpY2tuZXNzIjowLCJEdXJhdGlvbkZvcm1hdCI6MCwiSW5jbHVkZU5vbldvcmtpbmdEYXlzSW5EdXJhdGlvbiI6ZmFsc2UsIlBlcmNlbnRhZ2VDb21wbGV0ZVN0eWxlIjp7IiRpZCI6IjU5NiIsIkZvbnRTZXR0aW5ncyI6eyIkaWQiOiI1OTciLCJGb250U2l6ZSI6MTAsIkZvbnROYW1lIjoiQ2FsaWJyaSIsIklzQm9sZCI6ZmFsc2UsIklzSXRhbGljIjpmYWxzZSwiSXNVbmRlcmxpbmVkIjpmYWxzZSwiUGFyZW50U3R5bGUiOm51bGx9LCJBdXRvU2l6ZSI6MCwiRm9yZWdyb3VuZCI6eyIkcmVmIjoiNDQxIn0sIk1heFdpZHRoIjoyMDAuMCwiTWF4SGVpZ2h0IjoiSW5maW5pdHkiLCJTbWFydEZvcmVncm91bmRJc0FjdGl2ZSI6ZmFsc2UsIkhvcml6b250YWxBbGlnbm1lbnQiOjAsIlZlcnRpY2FsQWxpZ25tZW50IjowLCJTbWFydEZvcmVncm91bmQiOm51bGwsIkJhY2tncm91bmRGaWxsVHlwZSI6MCwiTWFyZ2luIjp7IiRpZCI6IjU5OCIsIlRvcCI6MC4wLCJMZWZ0IjowLjAsIlJpZ2h0IjowLjAsIkJvdHRvbSI6MC4wfSwiUGFkZGluZyI6eyIkaWQiOiI1OTkiLCJUb3AiOjAuMCwiTGVmdCI6MC4wLCJSaWdodCI6MC4wLCJCb3R0b20iOjAuMH0sIkJhY2tncm91bmQiOnsiJHJlZiI6IjIzMyJ9LCJJc1Zpc2libGUiOnRydWUsIldpZHRoIjowLjAsIkhlaWdodCI6MC4wLCJCb3JkZXJTdHlsZSI6eyIkaWQiOiI2MDAiLCJMaW5lQ29sb3IiOm51bGwsIkxpbmVXZWlnaHQiOjAuMCwiTGluZVR5cGUiOjAsIlBhcmVudFN0eWxlIjpudWxsfSwiUGFyZW50U3R5bGUiOm51bGx9LCJEdXJhdGlvblN0eWxlIjp7IiRpZCI6IjYwMSIsIkZvbnRTZXR0aW5ncyI6eyIkaWQiOiI2MDIiLCJGb250U2l6ZSI6MTAsIkZvbnROYW1lIjoiQ2FsaWJyaSIsIklzQm9sZCI6ZmFsc2UsIklzSXRhbGljIjpmYWxzZSwiSXNVbmRlcmxpbmVkIjpmYWxzZSwiUGFyZW50U3R5bGUiOm51bGx9LCJBdXRvU2l6ZSI6MCwiRm9yZWdyb3VuZCI6eyIkaWQiOiI2MDMiLCJDb2xvciI6eyIkcmVmIjoiNTUifX0sIk1heFdpZHRoIjoyMDAuMCwiTWF4SGVpZ2h0IjoiSW5maW5pdHkiLCJTbWFydEZvcmVncm91bmRJc0FjdGl2ZSI6ZmFsc2UsIkhvcml6b250YWxBbGlnbm1lbnQiOjAsIlZlcnRpY2FsQWxpZ25tZW50IjowLCJTbWFydEZvcmVncm91bmQiOm51bGwsIkJhY2tncm91bmRGaWxsVHlwZSI6MCwiTWFyZ2luIjp7IiRpZCI6IjYwNCIsIlRvcCI6MC4wLCJMZWZ0IjowLjAsIlJpZ2h0IjowLjAsIkJvdHRvbSI6MC4wfSwiUGFkZGluZyI6eyIkaWQiOiI2MDUiLCJUb3AiOjAuMCwiTGVmdCI6MC4wLCJSaWdodCI6MC4wLCJCb3R0b20iOjAuMH0sIkJhY2tncm91bmQiOnsiJHJlZiI6IjU4In0sIklzVmlzaWJsZSI6dHJ1ZSwiV2lkdGgiOjAuMCwiSGVpZ2h0IjowLjAsIkJvcmRlclN0eWxlIjp7IiRpZCI6IjYwNiIsIkxpbmVDb2xvciI6bnVsbCwiTGluZVdlaWdodCI6MC4wLCJMaW5lVHlwZSI6MCwiUGFyZW50U3R5bGUiOm51bGx9LCJQYXJlbnRTdHlsZSI6bnVsbH0sIkhvcml6b250YWxDb25uZWN0b3JTdHlsZSI6eyIkaWQiOiI2MDciLCJMaW5lQ29sb3IiOnsiJHJlZiI6IjYyIn0sIkxpbmVXZWlnaHQiOjEuMCwiTGluZVR5cGUiOjAsIlBhcmVudFN0eWxlIjpudWxsfSwiVmVydGljYWxDb25uZWN0b3JTdHlsZSI6eyIkaWQiOiI2MDgiLCJMaW5lQ29sb3IiOnsiJHJlZiI6IjY1In0sIkxpbmVXZWlnaHQiOjAuMCwiTGluZVR5cGUiOjAsIlBhcmVudFN0eWxlIjpudWxsfSwiTWFyZ2luIjpudWxsLCJTdGFydERhdGVQb3NpdGlvbiI6NiwiRW5kRGF0ZVBvc2l0aW9uIjo2LCJEYXRlSXNWaXNpYmxlIjpmYWxzZSwiVGl0bGVQb3NpdGlvbiI6MiwiRHVyYXRpb25Qb3NpdGlvbiI6NiwiUGVyY2VudGFnZUNvbXBsZXRlZFBvc2l0aW9uIjo2LCJTcGFjaW5nIjozLCJJc0JlbG93VGltZWJhbmQiOnRydWUsIlBlcmNlbnRhZ2VDb21wbGV0ZVNoYXBlT3BhY2l0eSI6MzUsIlNoYXBlU3R5bGUiOnsiJGlkIjoiNjA5IiwiTWFyZ2luIjp7IiRpZCI6IjYxMCIsIlRvcCI6MC4wLCJMZWZ0Ijo0LjAsIlJpZ2h0Ijo0LjAsIkJvdHRvbSI6MC4wfSwiUGFkZGluZyI6eyIkaWQiOiI2MTEiLCJUb3AiOjAuMCwiTGVmdCI6MC4wLCJSaWdodCI6MC4wLCJCb3R0b20iOjAuMH0sIkJhY2tncm91bmQiOnsiJGlkIjoiNjEyIiwiQ29sb3IiOnsiJGlkIjoiNjEzIiwiQSI6MjU1LCJSIjoyMzcsIkciOjEyNSwiQiI6NDl9fSwiSXNWaXNpYmxlIjp0cnVlLCJXaWR0aCI6MC4wLCJIZWlnaHQiOjEwLjAsIkJvcmRlclN0eWxlIjp7IiRpZCI6IjYxNCIsIkxpbmVDb2xvciI6eyIkaWQiOiI2MTUiLCIkdHlwZSI6Ik5MUkUuQ29tbW9uLkRvbS5Tb2xpZENvbG9yQnJ1c2gsIE5MUkUuQ29tbW9uIiwiQ29sb3IiOnsiJGlkIjoiNjE2IiwiQSI6MjU1LCJSIjoyNTUsIkciOjAsIkIiOjB9fSwiTGluZVdlaWdodCI6MC4wLCJMaW5lVHlwZSI6MCwiUGFyZW50U3R5bGUiOm51bGx9LCJQYXJlbnRTdHlsZSI6bnVsbH0sIlRpdGxlU3R5bGUiOnsiJGlkIjoiNjE3IiwiRm9udFNldHRpbmdzIjp7IiRpZCI6IjYxOCIsIkZvbnRTaXplIjoxMSwiRm9udE5hbWUiOiJDYWxpYnJpIiwiSXNCb2xkIjp0cnVlLCJJc0l0YWxpYyI6ZmFsc2UsIklzVW5kZXJsaW5lZCI6ZmFsc2UsIlBhcmVudFN0eWxlIjpudWxsfSwiQXV0b1NpemUiOjIsIkZvcmVncm91bmQiOnsiJGlkIjoiNjE5IiwiQ29sb3IiOnsiJGlkIjoiNjIwIiwiQSI6MjU1LCJSIjoyNTUsIkciOjI1NSwiQiI6MjU1fX0sIk1heFdpZHRoIjo2Ni4yNzMzMzMzMzMzMzMzNDEsIk1heEhlaWdodCI6IkluZmluaXR5IiwiU21hcnRGb3JlZ3JvdW5kSXNBY3RpdmUiOmZhbHNlLCJIb3Jpem9udGFsQWxpZ25tZW50IjoxLCJWZXJ0aWNhbEFsaWdubWVudCI6MCwiU21hcnRGb3JlZ3JvdW5kIjpudWxsLCJCYWNrZ3JvdW5kRmlsbFR5cGUiOjAsIk1hcmdpbiI6eyIkaWQiOiI2MjEiLCJUb3AiOjAuMCwiTGVmdCI6MC4wLCJSaWdodCI6MC4wLCJCb3R0b20iOjAuMH0sIlBhZGRpbmciOnsiJGlkIjoiNjIyIiwiVG9wIjowLjAsIkxlZnQiOjAuMCwiUmlnaHQiOjAuMCwiQm90dG9tIjowLjB9LCJCYWNrZ3JvdW5kIjp7IiRpZCI6IjYyMyIsIkNvbG9yIjp7IiRpZCI6IjYyNCIsIkEiOjAsIlIiOjI1NSwiRyI6MjU1LCJCIjoyNTV9fSwiSXNWaXNpYmxlIjp0cnVlLCJXaWR0aCI6MC4wLCJIZWlnaHQiOjAuMCwiQm9yZGVyU3R5bGUiOnsiJGlkIjoiNjI1IiwiTGluZUNvbG9yIjpudWxsLCJMaW5lV2VpZ2h0IjowLjAsIkxpbmVUeXBlIjowLCJQYXJlbnRTdHlsZSI6bnVsbH0sIlBhcmVudFN0eWxlIjpudWxsfSwiRGF0ZVN0eWxlIjp7IiRpZCI6IjYyNiIsIkZvbnRTZXR0aW5ncyI6eyIkaWQiOiI2MjciLCJGb250U2l6ZSI6MTAsIkZvbnROYW1lIjoiQ2FsaWJyaSIsIklzQm9sZCI6ZmFsc2UsIklzSXRhbGljIjpmYWxzZSwiSXNVbmRlcmxpbmVkIjpmYWxzZSwiUGFyZW50U3R5bGUiOm51bGx9LCJBdXRvU2l6ZSI6MCwiRm9yZWdyb3VuZCI6eyIkcmVmIjoiODYifSwiTWF4V2lkdGgiOjIwMC4wLCJNYXhIZWlnaHQiOiJJbmZpbml0eSIsIlNtYXJ0Rm9yZWdyb3VuZElzQWN0aXZlIjpmYWxzZSwiSG9yaXpvbnRhbEFsaWdubWVudCI6MiwiVmVydGljYWxBbGlnbm1lbnQiOjAsIlNtYXJ0Rm9yZWdyb3VuZCI6bnVsbCwiQmFja2dyb3VuZEZpbGxUeXBlIjowLCJNYXJnaW4iOnsiJGlkIjoiNjI4IiwiVG9wIjowLjAsIkxlZnQiOjAuMCwiUmlnaHQiOjAuMCwiQm90dG9tIjowLjB9LCJQYWRkaW5nIjp7IiRpZCI6IjYyOSIsIlRvcCI6MC4wLCJMZWZ0IjowLjAsIlJpZ2h0IjowLjAsIkJvdHRvbSI6MC4wfSwiQmFja2dyb3VuZCI6eyIkcmVmIjoiOTAifSwiSXNWaXNpYmxlIjp0cnVlLCJXaWR0aCI6MC4wLCJIZWlnaHQiOjAuMCwiQm9yZGVyU3R5bGUiOnsiJGlkIjoiNjMwIiwiTGluZUNvbG9yIjpudWxsLCJMaW5lV2VpZ2h0IjowLjAsIkxpbmVUeXBlIjowLCJQYXJlbnRTdHlsZSI6bnVsbH0sIlBhcmVudFN0eWxlIjpudWxsfSwiRGF0ZUZvcm1hdCI6eyIkaWQiOiI2MzE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NjMyIiwiRm9ybWF0IjowLCJJc1Zpc2libGUiOmZhbHNlLCJMYXN0S25vd25WaXNpYmlsaXR5U3RhdGUiOmZhbHNlfSwiSXNWaXNpYmxlIjp0cnVlLCJQYXJlbnRTdHlsZSI6bnVsbH0sIkluZGV4IjoxNywiU21hcnREdXJhdGlvbkFjdGl2YXRlZCI6ZmFsc2UsIkRhdGVGb3JtYXQiOnsiJHJlZiI6IjYzMSJ9LCJXZWVrTnVtYmVyaW5nIjp7IiRpZCI6IjYzMyIsIkZvcm1hdCI6MCwiSXNWaXNpYmxlIjpmYWxzZSwiTGFzdEtub3duVmlzaWJpbGl0eVN0YXRlIjpmYWxzZX0sIklkIjoiNDBjNzY5NmMtOGIzYS00YjFkLWI4M2QtNzY3MzBlNWQ5MmMyIiwiSW1wb3J0SWQiOm51bGwsIlRpdGxlIjoiUHJpY2UgUmVzZWFyY2giLCJOb3RlIjpudWxsLCJIeXBlcmxpbmsiOnsiJGlkIjoiNjM0IiwiQWRkcmVzcyI6IiIsIlN1YkFkZHJlc3MiOiIifSwiSXNDaGFuZ2VkIjpmYWxzZSwiSXNOZXciOmZhbHNlfX1dLCJfbWlsZXN0b25lcyI6W10sIklkIjoiZGFiOWQ0OTEtYzcxYi00ZDk5LWFlYTEtM2NhYzAxZDIyNzJmIiwiSXNTaW5nbGVJdGVtUm93IjpmYWxzZX0seyIkaWQiOiI2MzUiLCJfdGFza3MiOlt7IiRpZCI6IjYzNiIsIl9hdHRhY2hlZE1pbGVzdG9uZXMiOlt7IiRpZCI6IjYzNyIsIkRhdGUiOiIyMDIyLTA3LTI4VDIzOjU5OjAwIiwiU3R5bGUiOnsiJGlkIjoiNjM4IiwiU2hhcGUiOjE0LCJDb25uZWN0b3JNYXJnaW4iOnsiJGlkIjoiNjM5IiwiVG9wIjowLjAsIkxlZnQiOjIuMCwiUmlnaHQiOjIuMCwiQm90dG9tIjowLjB9LCJDb25uZWN0b3JTdHlsZSI6eyIkaWQiOiI2NDAiLCJMaW5lQ29sb3IiOnsiJGlkIjoiNjQxIiwiJHR5cGUiOiJOTFJFLkNvbW1vbi5Eb20uU29saWRDb2xvckJydXNoLCBOTFJFLkNvbW1vbiIsIkNvbG9yIjp7IiRpZCI6IjY0MiIsIkEiOjEyNywiUiI6MTMyLCJHIjo2MCwiQiI6MTJ9fSwiTGluZVdlaWdodCI6MS4wLCJMaW5lVHlwZSI6MCwiUGFyZW50U3R5bGUiOm51bGx9LCJJc0JlbG93VGltZWJhbmQiOnRydWUsIlBvc2l0aW9uT25UYXNrIjozLCJIaWRlRGF0ZSI6ZmFsc2UsIlNoYXBlU2l6ZSI6MSwiU3BhY2luZyI6MS4wLCJQYWRkaW5nIjp7IiRyZWYiOiIxMiJ9LCJTaGFwZVN0eWxlIjp7IiRpZCI6IjY0MyIsIk1hcmdpbiI6eyIkcmVmIjoiMjc3In0sIlBhZGRpbmciOnsiJHJlZiI6IjI3OCJ9LCJCYWNrZ3JvdW5kIjp7IiRpZCI6IjY0NCIsIkNvbG9yIjp7IiRpZCI6IjY0NSIsIkEiOjI1NSwiUiI6MTMyLCJHIjo2MCwiQiI6MTJ9fSwiSXNWaXNpYmxlIjp0cnVlLCJXaWR0aCI6MTguMCwiSGVpZ2h0IjoyMC4wLCJCb3JkZXJTdHlsZSI6eyIkaWQiOiI2NDYiLCJMaW5lQ29sb3IiOm51bGwsIkxpbmVXZWlnaHQiOjAuMCwiTGluZVR5cGUiOjAsIlBhcmVudFN0eWxlIjpudWxsfSwiUGFyZW50U3R5bGUiOm51bGx9LCJUaXRsZVN0eWxlIjp7IiRpZCI6IjY0NyIsIkZvbnRTZXR0aW5ncyI6eyIkaWQiOiI2NDgiLCJGb250U2l6ZSI6MTEsIkZvbnROYW1lIjoiQ2FsaWJyaSIsIklzQm9sZCI6dHJ1ZSwiSXNJdGFsaWMiOmZhbHNlLCJJc1VuZGVybGluZWQiOmZhbHNlLCJQYXJlbnRTdHlsZSI6bnVsbH0sIkF1dG9TaXplIjowLCJGb3JlZ3JvdW5kIjp7IiRpZCI6IjY0OSIsIkNvbG9yIjp7IiRpZCI6IjY1MC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Mjg2In0sIlBhZGRpbmciOnsiJHJlZiI6IjI4NyJ9LCJCYWNrZ3JvdW5kIjp7IiRpZCI6IjY1MSIsIkNvbG9yIjp7IiRpZCI6IjY1MiIsIkEiOjAsIlIiOjI1NSwiRyI6MjU1LCJCIjoyNTV9fSwiSXNWaXNpYmxlIjp0cnVlLCJXaWR0aCI6MC4wLCJIZWlnaHQiOjAuMCwiQm9yZGVyU3R5bGUiOnsiJGlkIjoiNjUzIiwiTGluZUNvbG9yIjpudWxsLCJMaW5lV2VpZ2h0IjowLjAsIkxpbmVUeXBlIjowLCJQYXJlbnRTdHlsZSI6bnVsbH0sIlBhcmVudFN0eWxlIjpudWxsfSwiRGF0ZVN0eWxlIjp7IiRpZCI6IjY1NCIsIkZvbnRTZXR0aW5ncyI6eyIkaWQiOiI2NTUiLCJGb250U2l6ZSI6MTAsIkZvbnROYW1lIjoiQ2FsaWJyaSIsIklzQm9sZCI6ZmFsc2UsIklzSXRhbGljIjpmYWxzZSwiSXNVbmRlcmxpbmVkIjpmYWxzZSwiUGFyZW50U3R5bGUiOm51bGx9LCJBdXRvU2l6ZSI6MCwiRm9yZWdyb3VuZCI6eyIkaWQiOiI2NTYiLCJDb2xvciI6eyIkaWQiOiI2NTciLCJBIjoyNTUsIlIiOjY4LCJHIjo4NCwiQiI6MTA2fX0sIk1heFdpZHRoIjoyMDAuMCwiTWF4SGVpZ2h0IjoiSW5maW5pdHkiLCJTbWFydEZvcmVncm91bmRJc0FjdGl2ZSI6ZmFsc2UsIkhvcml6b250YWxBbGlnbm1lbnQiOjIsIlZlcnRpY2FsQWxpZ25tZW50IjowLCJTbWFydEZvcmVncm91bmQiOm51bGwsIkJhY2tncm91bmRGaWxsVHlwZSI6MCwiTWFyZ2luIjp7IiRyZWYiOiIyOTUifSwiUGFkZGluZyI6eyIkcmVmIjoiMjk2In0sIkJhY2tncm91bmQiOnsiJGlkIjoiNjU4IiwiQ29sb3IiOnsiJGlkIjoiNjU5IiwiQSI6MCwiUiI6MjU1LCJHIjoyNTUsIkIiOjI1NX19LCJJc1Zpc2libGUiOmZhbHNlLCJXaWR0aCI6MC4wLCJIZWlnaHQiOjAuMCwiQm9yZGVyU3R5bGUiOnsiJGlkIjoiNjYwIiwiTGluZUNvbG9yIjpudWxsLCJMaW5lV2VpZ2h0IjowLjAsIkxpbmVUeXBlIjowLCJQYXJlbnRTdHlsZSI6bnVsbH0sIlBhcmVudFN0eWxlIjpudWxsfSwiRGF0ZUZvcm1hdCI6eyIkaWQiOiI2NjE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NjYyIiwiRm9ybWF0IjowLCJJc1Zpc2libGUiOmZhbHNlLCJMYXN0S25vd25WaXNpYmlsaXR5U3RhdGUiOmZhbHNlfSwiSXNWaXNpYmxlIjp0cnVlLCJQYXJlbnRTdHlsZSI6bnVsbH0sIkluZGV4IjoxOSwiUGVyY2VudGFnZUNvbXBsZXRlIjpudWxsLCJQb3NpdGlvbiI6eyJSYXRpbyI6MC4wLCJJc0N1c3RvbSI6ZmFsc2V9LCJEYXRlRm9ybWF0Ijp7IiRyZWYiOiI2NjEifSwiV2Vla051bWJlcmluZyI6eyIkaWQiOiI2NjMiLCJGb3JtYXQiOjAsIklzVmlzaWJsZSI6ZmFsc2UsIkxhc3RLbm93blZpc2liaWxpdHlTdGF0ZSI6ZmFsc2V9LCJSZWxhdGVkVGFza0lkIjoiZjFiMDNiOWYtYWRiMi00NmQ2LWI3NGUtZWY2NmQyYzY2MmQxIiwiSWQiOiI4ZWQyOGI5MS04M2RlLTQ1ODgtYTQ2ZS1kNDMyMzA2NmMyOGYiLCJJbXBvcnRJZCI6bnVsbCwiVGl0bGUiOiJGaW5hbCBQcmljZSBMaXN0IiwiTm90ZSI6bnVsbCwiSHlwZXJsaW5rIjp7IiRpZCI6IjY2NCIsIkFkZHJlc3MiOiIiLCJTdWJBZGRyZXNzIjoiIn0sIklzQ2hhbmdlZCI6ZmFsc2UsIklzTmV3IjpmYWxzZX1dLCJUYXNrRGVmaW5pdGlvbiI6eyIkaWQiOiI2NjUiLCJHcm91cE5hbWUiOm51bGwsIlN0YXJ0RGF0ZSI6IjIwMjItMDctMDdUMDA6MDA6MDBaIiwiRW5kRGF0ZSI6IjIwMjItMDktMTRUMjM6NTk6MDBaIiwiUGVyY2VudGFnZUNvbXBsZXRlIjpudWxsLCJTdHlsZSI6eyIkaWQiOiI2NjYiLCJTaGFwZSI6NywiU2hhcGVUaGlja25lc3MiOjAsIkR1cmF0aW9uRm9ybWF0IjowLCJJbmNsdWRlTm9uV29ya2luZ0RheXNJbkR1cmF0aW9uIjpmYWxzZSwiUGVyY2VudGFnZUNvbXBsZXRlU3R5bGUiOnsiJGlkIjoiNjY3IiwiRm9udFNldHRpbmdzIjp7IiRpZCI6IjY2OCIsIkZvbnRTaXplIjoxMCwiRm9udE5hbWUiOiJDYWxpYnJpIiwiSXNCb2xkIjpmYWxzZSwiSXNJdGFsaWMiOmZhbHNlLCJJc1VuZGVybGluZWQiOmZhbHNlLCJQYXJlbnRTdHlsZSI6bnVsbH0sIkF1dG9TaXplIjowLCJGb3JlZ3JvdW5kIjp7IiRyZWYiOiI0NDEifSwiTWF4V2lkdGgiOjIwMC4wLCJNYXhIZWlnaHQiOiJJbmZpbml0eSIsIlNtYXJ0Rm9yZWdyb3VuZElzQWN0aXZlIjpmYWxzZSwiSG9yaXpvbnRhbEFsaWdubWVudCI6MCwiVmVydGljYWxBbGlnbm1lbnQiOjAsIlNtYXJ0Rm9yZWdyb3VuZCI6bnVsbCwiQmFja2dyb3VuZEZpbGxUeXBlIjowLCJNYXJnaW4iOnsiJGlkIjoiNjY5IiwiVG9wIjowLjAsIkxlZnQiOjAuMCwiUmlnaHQiOjAuMCwiQm90dG9tIjowLjB9LCJQYWRkaW5nIjp7IiRpZCI6IjY3MCIsIlRvcCI6MC4wLCJMZWZ0IjowLjAsIlJpZ2h0IjowLjAsIkJvdHRvbSI6MC4wfSwiQmFja2dyb3VuZCI6eyIkcmVmIjoiMjMzIn0sIklzVmlzaWJsZSI6dHJ1ZSwiV2lkdGgiOjAuMCwiSGVpZ2h0IjowLjAsIkJvcmRlclN0eWxlIjp7IiRpZCI6IjY3MSIsIkxpbmVDb2xvciI6bnVsbCwiTGluZVdlaWdodCI6MC4wLCJMaW5lVHlwZSI6MCwiUGFyZW50U3R5bGUiOm51bGx9LCJQYXJlbnRTdHlsZSI6bnVsbH0sIkR1cmF0aW9uU3R5bGUiOnsiJGlkIjoiNjcyIiwiRm9udFNldHRpbmdzIjp7IiRpZCI6IjY3MyIsIkZvbnRTaXplIjoxMCwiRm9udE5hbWUiOiJDYWxpYnJpIiwiSXNCb2xkIjpmYWxzZSwiSXNJdGFsaWMiOmZhbHNlLCJJc1VuZGVybGluZWQiOmZhbHNlLCJQYXJlbnRTdHlsZSI6bnVsbH0sIkF1dG9TaXplIjowLCJGb3JlZ3JvdW5kIjp7IiRpZCI6IjY3NCIsIkNvbG9yIjp7IiRyZWYiOiI1NSJ9fSwiTWF4V2lkdGgiOjIwMC4wLCJNYXhIZWlnaHQiOiJJbmZpbml0eSIsIlNtYXJ0Rm9yZWdyb3VuZElzQWN0aXZlIjpmYWxzZSwiSG9yaXpvbnRhbEFsaWdubWVudCI6MCwiVmVydGljYWxBbGlnbm1lbnQiOjAsIlNtYXJ0Rm9yZWdyb3VuZCI6bnVsbCwiQmFja2dyb3VuZEZpbGxUeXBlIjowLCJNYXJnaW4iOnsiJGlkIjoiNjc1IiwiVG9wIjowLjAsIkxlZnQiOjAuMCwiUmlnaHQiOjAuMCwiQm90dG9tIjowLjB9LCJQYWRkaW5nIjp7IiRpZCI6IjY3NiIsIlRvcCI6MC4wLCJMZWZ0IjowLjAsIlJpZ2h0IjowLjAsIkJvdHRvbSI6MC4wfSwiQmFja2dyb3VuZCI6eyIkcmVmIjoiNTgifSwiSXNWaXNpYmxlIjp0cnVlLCJXaWR0aCI6MC4wLCJIZWlnaHQiOjAuMCwiQm9yZGVyU3R5bGUiOnsiJGlkIjoiNjc3IiwiTGluZUNvbG9yIjpudWxsLCJMaW5lV2VpZ2h0IjowLjAsIkxpbmVUeXBlIjowLCJQYXJlbnRTdHlsZSI6bnVsbH0sIlBhcmVudFN0eWxlIjpudWxsfSwiSG9yaXpvbnRhbENvbm5lY3RvclN0eWxlIjp7IiRpZCI6IjY3OCIsIkxpbmVDb2xvciI6eyIkcmVmIjoiNjIifSwiTGluZVdlaWdodCI6MS4wLCJMaW5lVHlwZSI6MCwiUGFyZW50U3R5bGUiOm51bGx9LCJWZXJ0aWNhbENvbm5lY3RvclN0eWxlIjp7IiRpZCI6IjY3OSIsIkxpbmVDb2xvciI6eyIkcmVmIjoiNjUifSwiTGluZVdlaWdodCI6MC4wLCJMaW5lVHlwZSI6MCwiUGFyZW50U3R5bGUiOm51bGx9LCJNYXJnaW4iOm51bGwsIlN0YXJ0RGF0ZVBvc2l0aW9uIjo2LCJFbmREYXRlUG9zaXRpb24iOjYsIkRhdGVJc1Zpc2libGUiOmZhbHNlLCJUaXRsZVBvc2l0aW9uIjoyLCJEdXJhdGlvblBvc2l0aW9uIjo2LCJQZXJjZW50YWdlQ29tcGxldGVkUG9zaXRpb24iOjYsIlNwYWNpbmciOjMsIklzQmVsb3dUaW1lYmFuZCI6dHJ1ZSwiUGVyY2VudGFnZUNvbXBsZXRlU2hhcGVPcGFjaXR5IjozNSwiU2hhcGVTdHlsZSI6eyIkaWQiOiI2ODAiLCJNYXJnaW4iOnsiJGlkIjoiNjgxIiwiVG9wIjowLjAsIkxlZnQiOjQuMCwiUmlnaHQiOjQuMCwiQm90dG9tIjowLjB9LCJQYWRkaW5nIjp7IiRpZCI6IjY4MiIsIlRvcCI6MC4wLCJMZWZ0IjowLjAsIlJpZ2h0IjowLjAsIkJvdHRvbSI6MC4wfSwiQmFja2dyb3VuZCI6eyIkaWQiOiI2ODMiLCJDb2xvciI6eyIkaWQiOiI2ODQiLCJBIjoyNTUsIlIiOjIzNywiRyI6MTI1LCJCIjo0OX19LCJJc1Zpc2libGUiOnRydWUsIldpZHRoIjowLjAsIkhlaWdodCI6MTAuMCwiQm9yZGVyU3R5bGUiOnsiJGlkIjoiNjg1IiwiTGluZUNvbG9yIjp7IiRpZCI6IjY4NiIsIiR0eXBlIjoiTkxSRS5Db21tb24uRG9tLlNvbGlkQ29sb3JCcnVzaCwgTkxSRS5Db21tb24iLCJDb2xvciI6eyIkaWQiOiI2ODciLCJBIjoyNTUsIlIiOjI1NSwiRyI6MCwiQiI6MH19LCJMaW5lV2VpZ2h0IjowLjAsIkxpbmVUeXBlIjowLCJQYXJlbnRTdHlsZSI6bnVsbH0sIlBhcmVudFN0eWxlIjpudWxsfSwiVGl0bGVTdHlsZSI6eyIkaWQiOiI2ODgiLCJGb250U2V0dGluZ3MiOnsiJGlkIjoiNjg5IiwiRm9udFNpemUiOjExLCJGb250TmFtZSI6IkNhbGlicmkiLCJJc0JvbGQiOnRydWUsIklzSXRhbGljIjpmYWxzZSwiSXNVbmRlcmxpbmVkIjpmYWxzZSwiUGFyZW50U3R5bGUiOm51bGx9LCJBdXRvU2l6ZSI6MCwiRm9yZWdyb3VuZCI6eyIkaWQiOiI2OTAiLCJDb2xvciI6eyIkaWQiOiI2OTEiLCJBIjoyNTUsIlIiOjI1NSwiRyI6MjU1LCJCIjoyNTV9fSwiTWF4V2lkdGgiOjk2MC4wLCJNYXhIZWlnaHQiOiJJbmZpbml0eSIsIlNtYXJ0Rm9yZWdyb3VuZElzQWN0aXZlIjpmYWxzZSwiSG9yaXpvbnRhbEFsaWdubWVudCI6MSwiVmVydGljYWxBbGlnbm1lbnQiOjAsIlNtYXJ0Rm9yZWdyb3VuZCI6bnVsbCwiQmFja2dyb3VuZEZpbGxUeXBlIjowLCJNYXJnaW4iOnsiJGlkIjoiNjkyIiwiVG9wIjowLjAsIkxlZnQiOjAuMCwiUmlnaHQiOjAuMCwiQm90dG9tIjowLjB9LCJQYWRkaW5nIjp7IiRpZCI6IjY5MyIsIlRvcCI6MC4wLCJMZWZ0IjowLjAsIlJpZ2h0IjowLjAsIkJvdHRvbSI6MC4wfSwiQmFja2dyb3VuZCI6eyIkaWQiOiI2OTQiLCJDb2xvciI6eyIkaWQiOiI2OTUiLCJBIjowLCJSIjoyNTUsIkciOjI1NSwiQiI6MjU1fX0sIklzVmlzaWJsZSI6dHJ1ZSwiV2lkdGgiOjAuMCwiSGVpZ2h0IjowLjAsIkJvcmRlclN0eWxlIjp7IiRpZCI6IjY5NiIsIkxpbmVDb2xvciI6bnVsbCwiTGluZVdlaWdodCI6MC4wLCJMaW5lVHlwZSI6MCwiUGFyZW50U3R5bGUiOm51bGx9LCJQYXJlbnRTdHlsZSI6bnVsbH0sIkRhdGVTdHlsZSI6eyIkaWQiOiI2OTciLCJGb250U2V0dGluZ3MiOnsiJGlkIjoiNjk4IiwiRm9udFNpemUiOjEwLCJGb250TmFtZSI6IkNhbGlicmkiLCJJc0JvbGQiOmZhbHNlLCJJc0l0YWxpYyI6ZmFsc2UsIklzVW5kZXJsaW5lZCI6ZmFsc2UsIlBhcmVudFN0eWxlIjpudWxsfSwiQXV0b1NpemUiOjAsIkZvcmVncm91bmQiOnsiJHJlZiI6Ijg2In0sIk1heFdpZHRoIjoyMDAuMCwiTWF4SGVpZ2h0IjoiSW5maW5pdHkiLCJTbWFydEZvcmVncm91bmRJc0FjdGl2ZSI6ZmFsc2UsIkhvcml6b250YWxBbGlnbm1lbnQiOjIsIlZlcnRpY2FsQWxpZ25tZW50IjowLCJTbWFydEZvcmVncm91bmQiOm51bGwsIkJhY2tncm91bmRGaWxsVHlwZSI6MCwiTWFyZ2luIjp7IiRpZCI6IjY5OSIsIlRvcCI6MC4wLCJMZWZ0IjowLjAsIlJpZ2h0IjowLjAsIkJvdHRvbSI6MC4wfSwiUGFkZGluZyI6eyIkaWQiOiI3MDAiLCJUb3AiOjAuMCwiTGVmdCI6MC4wLCJSaWdodCI6MC4wLCJCb3R0b20iOjAuMH0sIkJhY2tncm91bmQiOnsiJHJlZiI6IjkwIn0sIklzVmlzaWJsZSI6dHJ1ZSwiV2lkdGgiOjAuMCwiSGVpZ2h0IjowLjAsIkJvcmRlclN0eWxlIjp7IiRpZCI6IjcwMSIsIkxpbmVDb2xvciI6bnVsbCwiTGluZVdlaWdodCI6MC4wLCJMaW5lVHlwZSI6MCwiUGFyZW50U3R5bGUiOm51bGx9LCJQYXJlbnRTdHlsZSI6bnVsbH0sIkRhdGVGb3JtYXQiOnsiJGlkIjoiNzAy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cwMyIsIkZvcm1hdCI6MCwiSXNWaXNpYmxlIjpmYWxzZSwiTGFzdEtub3duVmlzaWJpbGl0eVN0YXRlIjpmYWxzZX0sIklzVmlzaWJsZSI6dHJ1ZSwiUGFyZW50U3R5bGUiOm51bGx9LCJJbmRleCI6MTgsIlNtYXJ0RHVyYXRpb25BY3RpdmF0ZWQiOmZhbHNlLCJEYXRlRm9ybWF0Ijp7IiRyZWYiOiI3MDIifSwiV2Vla051bWJlcmluZyI6eyIkaWQiOiI3MDQiLCJGb3JtYXQiOjAsIklzVmlzaWJsZSI6ZmFsc2UsIkxhc3RLbm93blZpc2liaWxpdHlTdGF0ZSI6ZmFsc2V9LCJJZCI6ImYxYjAzYjlmLWFkYjItNDZkNi1iNzRlLWVmNjZkMmM2NjJkMSIsIkltcG9ydElkIjpudWxsLCJUaXRsZSI6Ik9iamVjdGl2ZXMiLCJOb3RlIjpudWxsLCJIeXBlcmxpbmsiOnsiJGlkIjoiNzA1IiwiQWRkcmVzcyI6IiIsIlN1YkFkZHJlc3MiOiIifSwiSXNDaGFuZ2VkIjpmYWxzZSwiSXNOZXciOmZhbHNlfX1dLCJfbWlsZXN0b25lcyI6W10sIklkIjoiMDAwMDAwMDAtMDAwMC0wMDAwLTAwMDAtMDAwMDAwMDAwMDAwIiwiSXNTaW5nbGVJdGVtUm93Ijp0cnVlfSx7IiRpZCI6IjcwNiIsIl90YXNrcyI6W3siJGlkIjoiNzA3IiwiX2F0dGFjaGVkTWlsZXN0b25lcyI6W10sIlRhc2tEZWZpbml0aW9uIjp7IiRpZCI6IjcwOCIsIkdyb3VwTmFtZSI6IiIsIlN0YXJ0RGF0ZSI6IjIwMjItMDgtMDNUMDA6MDA6MDBaIiwiRW5kRGF0ZSI6IjIwMjItMTAtMjhUMDU6Mzg6MDBaIiwiUGVyY2VudGFnZUNvbXBsZXRlIjo3NS4wLCJTdHlsZSI6eyIkaWQiOiI3MDkiLCJTaGFwZSI6NywiU2hhcGVUaGlja25lc3MiOjAsIkR1cmF0aW9uRm9ybWF0IjowLCJJbmNsdWRlTm9uV29ya2luZ0RheXNJbkR1cmF0aW9uIjpmYWxzZSwiUGVyY2VudGFnZUNvbXBsZXRlU3R5bGUiOnsiJGlkIjoiNzEwIiwiRm9udFNldHRpbmdzIjp7IiRpZCI6IjcxMSIsIkZvbnRTaXplIjoxMCwiRm9udE5hbWUiOiJDYWxpYnJpIiwiSXNCb2xkIjpmYWxzZSwiSXNJdGFsaWMiOmZhbHNlLCJJc1VuZGVybGluZWQiOmZhbHNlLCJQYXJlbnRTdHlsZSI6bnVsbH0sIkF1dG9TaXplIjowLCJGb3JlZ3JvdW5kIjp7IiRyZWYiOiIxNDgifSwiTWF4V2lkdGgiOjIwMC4w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cmVmIjoiMTUyIn0sIklzVmlzaWJsZSI6dHJ1ZSwiV2lkdGgiOjAuMCwiSGVpZ2h0IjowLjAsIkJvcmRlclN0eWxlIjp7IiRpZCI6IjcxMiIsIkxpbmVDb2xvciI6bnVsbCwiTGluZVdlaWdodCI6MC4wLCJMaW5lVHlwZSI6MCwiUGFyZW50U3R5bGUiOm51bGx9LCJQYXJlbnRTdHlsZSI6bnVsbH0sIkR1cmF0aW9uU3R5bGUiOnsiJGlkIjoiNzEzIiwiRm9udFNldHRpbmdzIjp7IiRpZCI6IjcxNCIsIkZvbnRTaXplIjoxMCwiRm9udE5hbWUiOiJDYWxpYnJpIiwiSXNCb2xkIjpmYWxzZSwiSXNJdGFsaWMiOmZhbHNlLCJJc1VuZGVybGluZWQiOmZhbHNlLCJQYXJlbnRTdHlsZSI6bnVsbH0sIkF1dG9TaXplIjowLCJGb3JlZ3JvdW5kIjp7IiRyZWYiOiIxNTcifSwiTWF4V2lkdGgiOjIwMC4wLCJNYXhIZWlnaHQiOiJJbmZpbml0eSIsIlNtYXJ0Rm9yZWdyb3VuZElzQWN0aXZlIjpmYWxzZSwiSG9yaXpvbnRhbEFsaWdubWVudCI6MCwiVmVydGljYWxBbGlnbm1lbnQiOjAsIlNtYXJ0Rm9yZWdyb3VuZCI6bnVsbCwiQmFja2dyb3VuZEZpbGxUeXBlIjowLCJNYXJnaW4iOnsiJHJlZiI6IjE1OSJ9LCJQYWRkaW5nIjp7IiRyZWYiOiIxNjAifSwiQmFja2dyb3VuZCI6eyIkcmVmIjoiMTYxIn0sIklzVmlzaWJsZSI6dHJ1ZSwiV2lkdGgiOjAuMCwiSGVpZ2h0IjowLjAsIkJvcmRlclN0eWxlIjp7IiRpZCI6IjcxNSIsIkxpbmVDb2xvciI6bnVsbCwiTGluZVdlaWdodCI6MC4wLCJMaW5lVHlwZSI6MCwiUGFyZW50U3R5bGUiOm51bGx9LCJQYXJlbnRTdHlsZSI6bnVsbH0sIkhvcml6b250YWxDb25uZWN0b3JTdHlsZSI6eyIkaWQiOiI3MTYiLCJMaW5lQ29sb3IiOnsiJHJlZiI6IjE2NCJ9LCJMaW5lV2VpZ2h0IjoxLjAsIkxpbmVUeXBlIjowLCJQYXJlbnRTdHlsZSI6bnVsbH0sIlZlcnRpY2FsQ29ubmVjdG9yU3R5bGUiOnsiJGlkIjoiNzE3IiwiTGluZUNvbG9yIjp7IiRyZWYiOiIxNjcifSwiTGluZVdlaWdodCI6MC4wLCJMaW5lVHlwZSI6MCwiUGFyZW50U3R5bGUiOm51bGx9LCJNYXJnaW4iOm51bGwsIlN0YXJ0RGF0ZVBvc2l0aW9uIjo2LCJFbmREYXRlUG9zaXRpb24iOjYsIkRhdGVJc1Zpc2libGUiOmZhbHNlLCJUaXRsZVBvc2l0aW9uIjoyLCJEdXJhdGlvblBvc2l0aW9uIjo2LCJQZXJjZW50YWdlQ29tcGxldGVkUG9zaXRpb24iOjYsIlNwYWNpbmciOjMsIklzQmVsb3dUaW1lYmFuZCI6dHJ1ZSwiUGVyY2VudGFnZUNvbXBsZXRlU2hhcGVPcGFjaXR5IjozNSwiU2hhcGVTdHlsZSI6eyIkaWQiOiI3MTgiLCJNYXJnaW4iOnsiJHJlZiI6IjE3MCJ9LCJQYWRkaW5nIjp7IiRyZWYiOiIxNzEifSwiQmFja2dyb3VuZCI6eyIkaWQiOiI3MTkiLCJDb2xvciI6eyIkaWQiOiI3MjAiLCJBIjoyNTUsIlIiOjIzNywiRyI6MTI1LCJCIjo0OX19LCJJc1Zpc2libGUiOnRydWUsIldpZHRoIjowLjAsIkhlaWdodCI6MTAuMCwiQm9yZGVyU3R5bGUiOnsiJGlkIjoiNzIxIiwiTGluZUNvbG9yIjp7IiRyZWYiOiIxNzUifSwiTGluZVdlaWdodCI6MC4wLCJMaW5lVHlwZSI6MCwiUGFyZW50U3R5bGUiOm51bGx9LCJQYXJlbnRTdHlsZSI6bnVsbH0sIlRpdGxlU3R5bGUiOnsiJGlkIjoiNzIyIiwiRm9udFNldHRpbmdzIjp7IiRpZCI6IjcyMyIsIkZvbnRTaXplIjoxMSwiRm9udE5hbWUiOiJDYWxpYnJpIiwiSXNCb2xkIjp0cnVlLCJJc0l0YWxpYyI6ZmFsc2UsIklzVW5kZXJsaW5lZCI6ZmFsc2UsIlBhcmVudFN0eWxlIjpudWxsfSwiQXV0b1NpemUiOjIsIkZvcmVncm91bmQiOnsiJGlkIjoiNzI0IiwiQ29sb3IiOnsiJGlkIjoiNzI1IiwiQSI6MjU1LCJSIjoyNTUsIkciOjI1NSwiQiI6MjU1fX0sIk1heFdpZHRoIjo5NS45NDAwMDAwMDAwMDAwMTIsIk1heEhlaWdodCI6IkluZmluaXR5IiwiU21hcnRGb3JlZ3JvdW5kSXNBY3RpdmUiOmZhbHNlLCJIb3Jpem9udGFsQWxpZ25tZW50IjoxLCJWZXJ0aWNhbEFsaWdubWVudCI6MCwiU21hcnRGb3JlZ3JvdW5kIjpudWxsLCJCYWNrZ3JvdW5kRmlsbFR5cGUiOjAsIk1hcmdpbiI6eyIkcmVmIjoiMTgxIn0sIlBhZGRpbmciOnsiJHJlZiI6IjE4MiJ9LCJCYWNrZ3JvdW5kIjp7IiRpZCI6IjcyNiIsIkNvbG9yIjp7IiRpZCI6IjcyNyIsIkEiOjAsIlIiOjI1NSwiRyI6MjU1LCJCIjoyNTV9fSwiSXNWaXNpYmxlIjp0cnVlLCJXaWR0aCI6MC4wLCJIZWlnaHQiOjAuMCwiQm9yZGVyU3R5bGUiOnsiJGlkIjoiNzI4IiwiTGluZUNvbG9yIjpudWxsLCJMaW5lV2VpZ2h0IjowLjAsIkxpbmVUeXBlIjowLCJQYXJlbnRTdHlsZSI6bnVsbH0sIlBhcmVudFN0eWxlIjpudWxsfSwiRGF0ZVN0eWxlIjp7IiRpZCI6IjcyOSIsIkZvbnRTZXR0aW5ncyI6eyIkaWQiOiI3MzAiLCJGb250U2l6ZSI6MTAsIkZvbnROYW1lIjoiQ2FsaWJyaSIsIklzQm9sZCI6ZmFsc2UsIklzSXRhbGljIjpmYWxzZSwiSXNVbmRlcmxpbmVkIjpmYWxzZSwiUGFyZW50U3R5bGUiOm51bGx9LCJBdXRvU2l6ZSI6MCwiRm9yZWdyb3VuZCI6eyIkcmVmIjoiODYifSwiTWF4V2lkdGgiOjIwMC4wLCJNYXhIZWlnaHQiOiJJbmZpbml0eSIsIlNtYXJ0Rm9yZWdyb3VuZElzQWN0aXZlIjpmYWxzZSwiSG9yaXpvbnRhbEFsaWdubWVudCI6MCwiVmVydGljYWxBbGlnbm1lbnQiOjAsIlNtYXJ0Rm9yZWdyb3VuZCI6bnVsbCwiQmFja2dyb3VuZEZpbGxUeXBlIjowLCJNYXJnaW4iOnsiJHJlZiI6IjE4OCJ9LCJQYWRkaW5nIjp7IiRyZWYiOiIxODkifSwiQmFja2dyb3VuZCI6eyIkcmVmIjoiMTkwIn0sIklzVmlzaWJsZSI6dHJ1ZSwiV2lkdGgiOjAuMCwiSGVpZ2h0IjowLjAsIkJvcmRlclN0eWxlIjp7IiRpZCI6IjczMSIsIkxpbmVDb2xvciI6bnVsbCwiTGluZVdlaWdodCI6MC4wLCJMaW5lVHlwZSI6MCwiUGFyZW50U3R5bGUiOm51bGx9LCJQYXJlbnRTdHlsZSI6bnVsbH0sIkRhdGVGb3JtYXQiOnsiJHJlZiI6IjE5MiJ9LCJXZWVrTnVtYmVyaW5nIjp7IiRpZCI6IjczMiIsIkZvcm1hdCI6MCwiSXNWaXNpYmxlIjpmYWxzZSwiTGFzdEtub3duVmlzaWJpbGl0eVN0YXRlIjpmYWxzZX0sIklzVmlzaWJsZSI6dHJ1ZSwiUGFyZW50U3R5bGUiOm51bGx9LCJJbmRleCI6MjAsIlNtYXJ0RHVyYXRpb25BY3RpdmF0ZWQiOmZhbHNlLCJEYXRlRm9ybWF0Ijp7IiRyZWYiOiIxOTIifSwiV2Vla051bWJlcmluZyI6eyIkaWQiOiI3MzMiLCJGb3JtYXQiOjAsIklzVmlzaWJsZSI6ZmFsc2UsIkxhc3RLbm93blZpc2liaWxpdHlTdGF0ZSI6ZmFsc2V9LCJJZCI6ImM2MDkxMDA5LTZkNWEtNGI2Zi05ZGU3LTZiNjNmZWFkY2Y5NCIsIkltcG9ydElkIjpudWxsLCJUaXRsZSI6IlNhbGVzIFRyZW5kcyBBbmFseXNpcyIsIk5vdGUiOm51bGwsIkh5cGVybGluayI6eyIkaWQiOiI3MzQiLCJBZGRyZXNzIjoiIiwiU3ViQWRkcmVzcyI6IiJ9LCJJc0NoYW5nZWQiOmZhbHNlLCJJc05ldyI6ZmFsc2V9fV0sIl9taWxlc3RvbmVzIjpbXSwiSWQiOiIwMDAwMDAwMC0wMDAwLTAwMDAtMDAwMC0wMDAwMDAwMDAwMDAiLCJJc1NpbmdsZUl0ZW1Sb3ciOnRydWV9XSwiSW5kZXgiOjAsIklkIjoiYjI2ZGIzOGItMDNjNi00OWM5LThhMmMtNTQyOTAxNzkwYjZmIiwiSGVhZGVyVGV4dCI6bnVsbCwiSXNEZWZhdWx0Ijp0cnVlLCJTdHlsZSI6eyIkaWQiOiI3MzUiLCJIZWFkZXJTdHlsZSI6eyIkaWQiOiI3MzYiLCJUZXh0U3R5bGUiOnsiJGlkIjoiNzM3IiwiRm9udFNldHRpbmdzIjp7IiRpZCI6IjczOCIsIkZvbnRTaXplIjoxMSwiRm9udE5hbWUiOiJDYWxpYnJpIiwiSXNCb2xkIjpmYWxzZSwiSXNJdGFsaWMiOmZhbHNlLCJJc1VuZGVybGluZWQiOmZhbHNlLCJQYXJlbnRTdHlsZSI6bnVsbH0sIkF1dG9TaXplIjoyLCJGb3JlZ3JvdW5kIjp7IiRpZCI6IjczOSIsIkNvbG9yIjp7IiRpZCI6Ijc0MCIsIkEiOjI1NSwiUiI6MCwiRyI6MCwiQiI6MH19LCJNYXhXaWR0aCI6MC4wLCJNYXhIZWlnaHQiOiJJbmZpbml0eSIsIlNtYXJ0Rm9yZWdyb3VuZElzQWN0aXZlIjpmYWxzZSwiSG9yaXpvbnRhbEFsaWdubWVudCI6MCwiVmVydGljYWxBbGlnbm1lbnQiOjAsIlNtYXJ0Rm9yZWdyb3VuZCI6bnVsbCwiQmFja2dyb3VuZEZpbGxUeXBlIjowLCJNYXJnaW4iOnsiJGlkIjoiNzQxIiwiVG9wIjowLjAsIkxlZnQiOjAuMCwiUmlnaHQiOjAuMCwiQm90dG9tIjowLjB9LCJQYWRkaW5nIjp7IiRpZCI6Ijc0MiIsIlRvcCI6MC4wLCJMZWZ0IjowLjAsIlJpZ2h0IjowLjAsIkJvdHRvbSI6MC4wfSwiQmFja2dyb3VuZCI6bnVsbCwiSXNWaXNpYmxlIjp0cnVlLCJXaWR0aCI6MC4wLCJIZWlnaHQiOjAuMCwiQm9yZGVyU3R5bGUiOm51bGwsIlBhcmVudFN0eWxlIjpudWxsfSwiUmVjdGFuZ2xlU3R5bGUiOnsiJGlkIjoiNzQzIiwiTWFyZ2luIjp7IiRpZCI6Ijc0NCIsIlRvcCI6MC4wLCJMZWZ0IjowLjAsIlJpZ2h0IjowLjAsIkJvdHRvbSI6MC4wfSwiUGFkZGluZyI6eyIkaWQiOiI3NDUiLCJUb3AiOjAuMCwiTGVmdCI6MC4wLCJSaWdodCI6MC4wLCJCb3R0b20iOjAuMH0sIkJhY2tncm91bmQiOnsiJGlkIjoiNzQ2IiwiQ29sb3IiOnsiJGlkIjoiNzQ3IiwiQSI6NjMsIlIiOjIzNywiRyI6MTI1LCJCIjo0OX19LCJJc1Zpc2libGUiOnRydWUsIldpZHRoIjowLjAsIkhlaWdodCI6MC4wLCJCb3JkZXJTdHlsZSI6eyIkaWQiOiI3NDgiLCJMaW5lQ29sb3IiOnsiJGlkIjoiNzQ5IiwiJHR5cGUiOiJOTFJFLkNvbW1vbi5Eb20uU29saWRDb2xvckJydXNoLCBOTFJFLkNvbW1vbiIsIkNvbG9yIjp7IiRpZCI6Ijc1MCIsIkEiOjI1NSwiUiI6MjU1LCJHIjowLCJCIjowfX0sIkxpbmVXZWlnaHQiOjAuMCwiTGluZVR5cGUiOjAsIlBhcmVudFN0eWxlIjpudWxsfSwiUGFyZW50U3R5bGUiOm51bGx9LCJNYXJnaW4iOnsiJGlkIjoiNzUxIiwiVG9wIjowLjAsIkxlZnQiOjAuMCwiUmlnaHQiOjAuMCwiQm90dG9tIjowLjB9LCJQYWRkaW5nIjp7IiRpZCI6Ijc1MiIsIlRvcCI6MC4wLCJMZWZ0IjowLjAsIlJpZ2h0IjowLjAsIkJvdHRvbSI6MC4wfSwiQmFja2dyb3VuZCI6bnVsbCwiSXNWaXNpYmxlIjp0cnVlLCJXaWR0aCI6MC4wLCJIZWlnaHQiOjAuMCwiQm9yZGVyU3R5bGUiOm51bGwsIlBhcmVudFN0eWxlIjpudWxsfSwiQmFja2dyb3VuZFN0eWxlIjp7IiRpZCI6Ijc1MyIsIk1hcmdpbiI6eyIkaWQiOiI3NTQiLCJUb3AiOjAuMCwiTGVmdCI6MC4wLCJSaWdodCI6MC4wLCJCb3R0b20iOjAuMH0sIlBhZGRpbmciOnsiJGlkIjoiNzU1IiwiVG9wIjowLjAsIkxlZnQiOjAuMCwiUmlnaHQiOjAuMCwiQm90dG9tIjowLjB9LCJCYWNrZ3JvdW5kIjp7IiRpZCI6Ijc1NiIsIkNvbG9yIjp7IiRpZCI6Ijc1NyIsIkEiOjUxLCJSIjoxNjUsIkciOjE2NSwiQiI6MTY1fX0sIklzVmlzaWJsZSI6dHJ1ZSwiV2lkdGgiOjAuMCwiSGVpZ2h0IjowLjAsIkJvcmRlclN0eWxlIjp7IiRpZCI6Ijc1OCIsIkxpbmVDb2xvciI6eyIkaWQiOiI3NTkiLCIkdHlwZSI6Ik5MUkUuQ29tbW9uLkRvbS5Tb2xpZENvbG9yQnJ1c2gsIE5MUkUuQ29tbW9uIiwiQ29sb3IiOnsiJGlkIjoiNzYwIiwiQSI6MjU1LCJSIjoyNTUsIkciOjAsIkIiOjB9fSwiTGluZVdlaWdodCI6MC4wLCJMaW5lVHlwZSI6MCwiUGFyZW50U3R5bGUiOm51bGx9LCJQYXJlbnRTdHlsZSI6bnVsbH0sIk1hcmdpbiI6eyIkaWQiOiI3NjEiLCJUb3AiOjAuMCwiTGVmdCI6MC4wLCJSaWdodCI6MC4wLCJCb3R0b20iOjAuMH0sIlBhZGRpbmciOnsiJGlkIjoiNzYyIiwiVG9wIjowLjAsIkxlZnQiOjAuMCwiUmlnaHQiOjAuMCwiQm90dG9tIjowLjB9LCJJc1Zpc2libGUiOmZhbHNlLCJXaWR0aCI6MC4wLCJIZWlnaHQiOjAuMCwiQm9yZGVyU3R5bGUiOm51bGwsIlBhcmVudFN0eWxlIjpudWxsfX1dLCJJZCI6IjA4OWQ3ZWI5LTg4MjctNDUyNy05NDhhLTFlZjQ2NDZlODc0NiIsIkluZGV4IjoxLCJIZWFkZXJUZXh0IjoiU3RyYXRlZ3kiLCJTdHlsZSI6eyIkaWQiOiI3NjMiLCJIZWFkZXJTdHlsZSI6eyIkaWQiOiI3NjQiLCJUZXh0SXNWZXJ0aWNhbCI6ZmFsc2UsIlRleHRTdHlsZSI6eyIkaWQiOiI3NjUiLCJGb250U2V0dGluZ3MiOnsiJGlkIjoiNzY2IiwiRm9udFNpemUiOjEyLCJGb250TmFtZSI6IkNhbGlicmkiLCJJc0JvbGQiOnRydWUsIklzSXRhbGljIjpmYWxzZSwiSXNVbmRlcmxpbmVkIjpmYWxzZSwiUGFyZW50U3R5bGUiOm51bGx9LCJBdXRvU2l6ZSI6MCwiRm9yZWdyb3VuZCI6eyIkaWQiOiI3NjciLCJDb2xvciI6eyIkaWQiOiI3NjgiLCJBIjoyNTUsIlIiOjI1NSwiRyI6MjU1LCJCIjoyNTV9fSwiTWF4V2lkdGgiOjAuMCwiTWF4SGVpZ2h0IjowLjAsIlNtYXJ0Rm9yZWdyb3VuZElzQWN0aXZlIjpmYWxzZSwiSG9yaXpvbnRhbEFsaWdubWVudCI6MCwiVmVydGljYWxBbGlnbm1lbnQiOjAsIlNtYXJ0Rm9yZWdyb3VuZCI6bnVsbCwiQmFja2dyb3VuZEZpbGxUeXBlIjowLCJNYXJnaW4iOnsiJHJlZiI6IjM4MiJ9LCJQYWRkaW5nIjp7IiRyZWYiOiIzODMifSwiQmFja2dyb3VuZCI6bnVsbCwiSXNWaXNpYmxlIjpmYWxzZSwiV2lkdGgiOjAuMCwiSGVpZ2h0IjowLjAsIkJvcmRlclN0eWxlIjpudWxsLCJQYXJlbnRTdHlsZSI6bnVsbH0sIlJlY3RhbmdsZVN0eWxlIjp7IiRpZCI6Ijc2OSIsIk1hcmdpbiI6eyIkcmVmIjoiMzg1In0sIlBhZGRpbmciOnsiJHJlZiI6IjM4NiJ9LCJCYWNrZ3JvdW5kIjp7IiRpZCI6Ijc3MCIsIkNvbG9yIjp7IiRpZCI6Ijc3MSIsIkEiOjI1NSwiUiI6MjM3LCJHIjoxMjUsIkIiOjQ5fX0sIklzVmlzaWJsZSI6ZmFsc2UsIldpZHRoIjowLjAsIkhlaWdodCI6MC4wLCJCb3JkZXJTdHlsZSI6eyIkaWQiOiI3NzIiLCJMaW5lQ29sb3IiOnsiJGlkIjoiNzczIiwiJHR5cGUiOiJOTFJFLkNvbW1vbi5Eb20uU29saWRDb2xvckJydXNoLCBOTFJFLkNvbW1vbiIsIkNvbG9yIjp7IiRpZCI6Ijc3NCIsIkEiOjI1NSwiUiI6MjEsIkciOjM3LCJCIjo2Nn19LCJMaW5lV2VpZ2h0IjowLjAsIkxpbmVUeXBlIjowLCJQYXJlbnRTdHlsZSI6bnVsbH0sIlBhcmVudFN0eWxlIjpudWxsfSwiTWFyZ2luIjp7IiRyZWYiOiIzOTIifSwiUGFkZGluZyI6eyIkcmVmIjoiMzkzIn0sIkJhY2tncm91bmQiOm51bGwsIklzVmlzaWJsZSI6dHJ1ZSwiV2lkdGgiOjAuMCwiSGVpZ2h0IjowLjAsIkJvcmRlclN0eWxlIjpudWxsLCJQYXJlbnRTdHlsZSI6bnVsbH0sIkJhY2tncm91bmRTdHlsZSI6eyIkaWQiOiI3NzUiLCJNYXJnaW4iOnsiJHJlZiI6IjM5NSJ9LCJQYWRkaW5nIjp7IiRyZWYiOiIzOTYifSwiQmFja2dyb3VuZCI6eyIkaWQiOiI3NzYiLCJDb2xvciI6eyIkaWQiOiI3NzciLCJBIjozOCwiUiI6MjM3LCJHIjoxMjUsIkIiOjQ5fX0sIklzVmlzaWJsZSI6dHJ1ZSwiV2lkdGgiOjAuMCwiSGVpZ2h0IjowLjAsIkJvcmRlclN0eWxlIjp7IiRpZCI6Ijc3OCIsIkxpbmVDb2xvciI6eyIkaWQiOiI3NzkiLCIkdHlwZSI6Ik5MUkUuQ29tbW9uLkRvbS5Tb2xpZENvbG9yQnJ1c2gsIE5MUkUuQ29tbW9uIiwiQ29sb3IiOnsiJGlkIjoiNzgwIiwiQSI6MjU1LCJSIjoyMSwiRyI6MzcsIkIiOjY2fX0sIkxpbmVXZWlnaHQiOjAuMCwiTGluZVR5cGUiOjAsIlBhcmVudFN0eWxlIjpudWxsfSwiUGFyZW50U3R5bGUiOm51bGx9LCJJc0Fib3ZlVGltZWJhbmQiOmZhbHNlLCJNYXJnaW4iOnsiJGlkIjoiNzgxIiwiVG9wIjowLjAsIkxlZnQiOjAuMCwiUmlnaHQiOjAuMCwiQm90dG9tIjowLjB9LCJQYWRkaW5nIjp7IiRpZCI6Ijc4MiIsIlRvcCI6MC4wLCJMZWZ0IjowLjAsIlJpZ2h0IjowLjAsIkJvdHRvbSI6MC4wfSwiSXNWaXNpYmxlIjp0cnVlLCJXaWR0aCI6MC4wLCJIZWlnaHQiOjAuMCwiQm9yZGVyU3R5bGUiOnsiJGlkIjoiNzgzIiwiTGluZUNvbG9yIjpudWxsLCJMaW5lV2VpZ2h0IjowLjAsIkxpbmVUeXBlIjowLCJQYXJlbnRTdHlsZSI6bnVsbH0sIlBhcmVudFN0eWxlIjpudWxsfX0seyIkaWQiOiI3ODQiLCJfYWN0aXZpdGllcyI6W3siJGlkIjoiNzg1IiwiX3Jvd3MiOlt7IiRpZCI6Ijc4NiIsIl90YXNrcyI6W3siJGlkIjoiNzg3IiwiX2F0dGFjaGVkTWlsZXN0b25lcyI6W10sIlRhc2tEZWZpbml0aW9uIjp7IiRpZCI6Ijc4OCIsIkdyb3VwTmFtZSI6IjJkZDgwNTc2LWUzZDMtNGZiZC1hZjRkLTVlZmNiYjIxNDMyMSIsIlN0YXJ0RGF0ZSI6IjIwMjItMDItMTdUMDk6MTM6MDBaIiwiRW5kRGF0ZSI6IjIwMjItMDMtMzFUMjA6MDE6MDBaIiwiUGVyY2VudGFnZUNvbXBsZXRlIjo3NS4wLCJTdHlsZSI6eyIkaWQiOiI3ODkiLCJTaGFwZSI6NywiU2hhcGVUaGlja25lc3MiOjAsIkR1cmF0aW9uRm9ybWF0Ijo1LCJJbmNsdWRlTm9uV29ya2luZ0RheXNJbkR1cmF0aW9uIjpmYWxzZSwiUGVyY2VudGFnZUNvbXBsZXRlU3R5bGUiOnsiJGlkIjoiNzkwIiwiRm9udFNldHRpbmdzIjp7IiRpZCI6Ijc5MSIsIkZvbnRTaXplIjoxMCwiRm9udE5hbWUiOiJDYWxpYnJpIiwiSXNCb2xkIjp0cnVlLCJJc0l0YWxpYyI6ZmFsc2UsIklzVW5kZXJsaW5lZCI6ZmFsc2UsIlBhcmVudFN0eWxlIjpudWxsfSwiQXV0b1NpemUiOjAsIkZvcmVncm91bmQiOnsiJGlkIjoiNzkyIiwiQ29sb3IiOnsiJGlkIjoiNzkzIiwiQSI6MjU1LCJSIjo1NiwiRyI6ODcsIkIiOjM1fX0sIk1heFdpZHRoIjoyMDAuMCwiTWF4SGVpZ2h0IjoiSW5maW5pdHkiLCJTbWFydEZvcmVncm91bmRJc0FjdGl2ZSI6ZmFsc2UsIkhvcml6b250YWxBbGlnbm1lbnQiOjIsIlZlcnRpY2FsQWxpZ25tZW50IjowLCJTbWFydEZvcmVncm91bmQiOm51bGwsIkJhY2tncm91bmRGaWxsVHlwZSI6MCwiTWFyZ2luIjp7IiRpZCI6Ijc5NCIsIlRvcCI6MC4wLCJMZWZ0IjowLjAsIlJpZ2h0IjowLjAsIkJvdHRvbSI6MC4wfSwiUGFkZGluZyI6eyIkaWQiOiI3OTUiLCJUb3AiOjAuMCwiTGVmdCI6MC4wLCJSaWdodCI6MC4wLCJCb3R0b20iOjAuMH0sIkJhY2tncm91bmQiOnsiJGlkIjoiNzk2IiwiQ29sb3IiOnsiJHJlZiI6IjUwIn19LCJJc1Zpc2libGUiOnRydWUsIldpZHRoIjowLjAsIkhlaWdodCI6MC4wLCJCb3JkZXJTdHlsZSI6eyIkaWQiOiI3OTciLCJMaW5lQ29sb3IiOm51bGwsIkxpbmVXZWlnaHQiOjAuMCwiTGluZVR5cGUiOjAsIlBhcmVudFN0eWxlIjpudWxsfSwiUGFyZW50U3R5bGUiOm51bGx9LCJEdXJhdGlvblN0eWxlIjp7IiRpZCI6Ijc5OCIsIkZvbnRTZXR0aW5ncyI6eyIkaWQiOiI3OTkiLCJGb250U2l6ZSI6MTAsIkZvbnROYW1lIjoiQ2FsaWJyaSIsIklzQm9sZCI6dHJ1ZSwiSXNJdGFsaWMiOmZhbHNlLCJJc1VuZGVybGluZWQiOmZhbHNlLCJQYXJlbnRTdHlsZSI6bnVsbH0sIkF1dG9TaXplIjowLCJGb3JlZ3JvdW5kIjp7IiRpZCI6IjgwMCIsIkNvbG9yIjp7IiRpZCI6IjgwMSIsIkEiOjI1NSwiUiI6NTYsIkciOjg3LCJCIjozNX19LCJNYXhXaWR0aCI6MjAwLjAsIk1heEhlaWdodCI6IkluZmluaXR5IiwiU21hcnRGb3JlZ3JvdW5kSXNBY3RpdmUiOmZhbHNlLCJIb3Jpem9udGFsQWxpZ25tZW50IjowLCJWZXJ0aWNhbEFsaWdubWVudCI6MCwiU21hcnRGb3JlZ3JvdW5kIjpudWxsLCJCYWNrZ3JvdW5kRmlsbFR5cGUiOjAsIk1hcmdpbiI6eyIkaWQiOiI4MDIiLCJUb3AiOjAuMCwiTGVmdCI6MC4wLCJSaWdodCI6MC4wLCJCb3R0b20iOjAuMH0sIlBhZGRpbmciOnsiJGlkIjoiODAzIiwiVG9wIjowLjAsIkxlZnQiOjAuMCwiUmlnaHQiOjAuMCwiQm90dG9tIjowLjB9LCJCYWNrZ3JvdW5kIjp7IiRpZCI6IjgwNCIsIkNvbG9yIjp7IiRpZCI6IjgwNSIsIkEiOjAsIlIiOjI1NSwiRyI6MjU1LCJCIjoyNTV9fSwiSXNWaXNpYmxlIjp0cnVlLCJXaWR0aCI6MC4wLCJIZWlnaHQiOjAuMCwiQm9yZGVyU3R5bGUiOnsiJGlkIjoiODA2IiwiTGluZUNvbG9yIjpudWxsLCJMaW5lV2VpZ2h0IjowLjAsIkxpbmVUeXBlIjowLCJQYXJlbnRTdHlsZSI6bnVsbH0sIlBhcmVudFN0eWxlIjpudWxsfSwiSG9yaXpvbnRhbENvbm5lY3RvclN0eWxlIjp7IiRpZCI6IjgwNyIsIkxpbmVDb2xvciI6eyIkcmVmIjoiNjIifSwiTGluZVdlaWdodCI6MS4wLCJMaW5lVHlwZSI6MCwiUGFyZW50U3R5bGUiOm51bGx9LCJWZXJ0aWNhbENvbm5lY3RvclN0eWxlIjp7IiRpZCI6IjgwOCIsIkxpbmVDb2xvciI6eyIkcmVmIjoiNjUifSwiTGluZVdlaWdodCI6MC4wLCJMaW5lVHlwZSI6MCwiUGFyZW50U3R5bGUiOm51bGx9LCJNYXJnaW4iOm51bGwsIlN0YXJ0RGF0ZVBvc2l0aW9uIjo2LCJFbmREYXRlUG9zaXRpb24iOjYsIkRhdGVJc1Zpc2libGUiOmZhbHNlLCJUaXRsZVBvc2l0aW9uIjoxLCJEdXJhdGlvblBvc2l0aW9uIjowLCJQZXJjZW50YWdlQ29tcGxldGVkUG9zaXRpb24iOjMsIlNwYWNpbmciOjMsIklzQmVsb3dUaW1lYmFuZCI6dHJ1ZSwiUGVyY2VudGFnZUNvbXBsZXRlU2hhcGVPcGFjaXR5IjozNSwiU2hhcGVTdHlsZSI6eyIkaWQiOiI4MDkiLCJNYXJnaW4iOnsiJGlkIjoiODEwIiwiVG9wIjowLjAsIkxlZnQiOjQuMCwiUmlnaHQiOjQuMCwiQm90dG9tIjowLjB9LCJQYWRkaW5nIjp7IiRpZCI6IjgxMSIsIlRvcCI6MC4wLCJMZWZ0IjowLjAsIlJpZ2h0IjowLjAsIkJvdHRvbSI6MC4wfSwiQmFja2dyb3VuZCI6eyIkaWQiOiI4MTIiLCJDb2xvciI6eyIkaWQiOiI4MTMiLCJBIjoyNTUsIlIiOjExMiwiRyI6MTczLCJCIjo3MX19LCJJc1Zpc2libGUiOnRydWUsIldpZHRoIjowLjAsIkhlaWdodCI6MTAuMCwiQm9yZGVyU3R5bGUiOnsiJGlkIjoiODE0IiwiTGluZUNvbG9yIjp7IiRpZCI6IjgxNSIsIiR0eXBlIjoiTkxSRS5Db21tb24uRG9tLlNvbGlkQ29sb3JCcnVzaCwgTkxSRS5Db21tb24iLCJDb2xvciI6eyIkaWQiOiI4MTYiLCJBIjoyNTUsIlIiOjI1NSwiRyI6MCwiQiI6MH19LCJMaW5lV2VpZ2h0IjowLjAsIkxpbmVUeXBlIjowLCJQYXJlbnRTdHlsZSI6bnVsbH0sIlBhcmVudFN0eWxlIjpudWxsfSwiVGl0bGVTdHlsZSI6eyIkaWQiOiI4MTciLCJGb250U2V0dGluZ3MiOnsiJGlkIjoiODE4IiwiRm9udFNpemUiOjExLCJGb250TmFtZSI6IkNhbGlicmkiLCJJc0JvbGQiOnRydWUsIklzSXRhbGljIjpmYWxzZSwiSXNVbmRlcmxpbmVkIjpmYWxzZSwiUGFyZW50U3R5bGUiOm51bGx9LCJBdXRvU2l6ZSI6MCwiRm9yZWdyb3VuZCI6eyIkaWQiOiI4MTkiLCJDb2xvciI6eyIkaWQiOiI4MjAiLCJBIjoyNTUsIlIiOjAsIkciOjAsIkIiOjB9fSwiTWF4V2lkdGgiOjcyMC4wLCJNYXhIZWlnaHQiOiJJbmZpbml0eSIsIlNtYXJ0Rm9yZWdyb3VuZElzQWN0aXZlIjpmYWxzZSwiSG9yaXpvbnRhbEFsaWdubWVudCI6MCwiVmVydGljYWxBbGlnbm1lbnQiOjAsIlNtYXJ0Rm9yZWdyb3VuZCI6bnVsbCwiQmFja2dyb3VuZEZpbGxUeXBlIjowLCJNYXJnaW4iOnsiJGlkIjoiODIxIiwiVG9wIjowLjAsIkxlZnQiOjAuMCwiUmlnaHQiOjAuMCwiQm90dG9tIjowLjB9LCJQYWRkaW5nIjp7IiRpZCI6IjgyMiIsIlRvcCI6MC4wLCJMZWZ0IjowLjAsIlJpZ2h0IjowLjAsIkJvdHRvbSI6MC4wfSwiQmFja2dyb3VuZCI6eyIkaWQiOiI4MjMiLCJDb2xvciI6eyIkaWQiOiI4MjQiLCJBIjowLCJSIjoyNTUsIkciOjI1NSwiQiI6MjU1fX0sIklzVmlzaWJsZSI6dHJ1ZSwiV2lkdGgiOjAuMCwiSGVpZ2h0IjowLjAsIkJvcmRlclN0eWxlIjp7IiRpZCI6IjgyNSIsIkxpbmVDb2xvciI6bnVsbCwiTGluZVdlaWdodCI6MC4wLCJMaW5lVHlwZSI6MCwiUGFyZW50U3R5bGUiOm51bGx9LCJQYXJlbnRTdHlsZSI6bnVsbH0sIkRhdGVTdHlsZSI6eyIkaWQiOiI4MjYiLCJGb250U2V0dGluZ3MiOnsiJGlkIjoiODI3IiwiRm9udFNpemUiOjEwLCJGb250TmFtZSI6IkNhbGlicmkiLCJJc0JvbGQiOmZhbHNlLCJJc0l0YWxpYyI6ZmFsc2UsIklzVW5kZXJsaW5lZCI6ZmFsc2UsIlBhcmVudFN0eWxlIjpudWxsfSwiQXV0b1NpemUiOjAsIkZvcmVncm91bmQiOnsiJHJlZiI6Ijg2In0sIk1heFdpZHRoIjoyMDAuMCwiTWF4SGVpZ2h0IjoiSW5maW5pdHkiLCJTbWFydEZvcmVncm91bmRJc0FjdGl2ZSI6ZmFsc2UsIkhvcml6b250YWxBbGlnbm1lbnQiOjAsIlZlcnRpY2FsQWxpZ25tZW50IjowLCJTbWFydEZvcmVncm91bmQiOm51bGwsIkJhY2tncm91bmRGaWxsVHlwZSI6MCwiTWFyZ2luIjp7IiRpZCI6IjgyOCIsIlRvcCI6MC4wLCJMZWZ0IjowLjAsIlJpZ2h0IjowLjAsIkJvdHRvbSI6MC4wfSwiUGFkZGluZyI6eyIkaWQiOiI4MjkiLCJUb3AiOjAuMCwiTGVmdCI6MC4wLCJSaWdodCI6MC4wLCJCb3R0b20iOjAuMH0sIkJhY2tncm91bmQiOnsiJHJlZiI6IjkwIn0sIklzVmlzaWJsZSI6dHJ1ZSwiV2lkdGgiOjAuMCwiSGVpZ2h0IjowLjAsIkJvcmRlclN0eWxlIjp7IiRpZCI6IjgzMCIsIkxpbmVDb2xvciI6bnVsbCwiTGluZVdlaWdodCI6MC4wLCJMaW5lVHlwZSI6MCwiUGFyZW50U3R5bGUiOm51bGx9LCJQYXJlbnRTdHlsZSI6bnVsbH0sIkRhdGVGb3JtYXQiOnsiJGlkIjoiODMx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gzMiIsIkZvcm1hdCI6MCwiSXNWaXNpYmxlIjpmYWxzZSwiTGFzdEtub3duVmlzaWJpbGl0eVN0YXRlIjpmYWxzZX0sIklzVmlzaWJsZSI6dHJ1ZSwiUGFyZW50U3R5bGUiOm51bGx9LCJJbmRleCI6MjEsIlNtYXJ0RHVyYXRpb25BY3RpdmF0ZWQiOmZhbHNlLCJEYXRlRm9ybWF0Ijp7IiRyZWYiOiI4MzEifSwiV2Vla051bWJlcmluZyI6eyIkaWQiOiI4MzMiLCJGb3JtYXQiOjAsIklzVmlzaWJsZSI6ZmFsc2UsIkxhc3RLbm93blZpc2liaWxpdHlTdGF0ZSI6ZmFsc2V9LCJJZCI6IjcxZmViMDg5LTdjMmItNDdkMi04Njc4LTM2NmQwNjYxOTEzYiIsIkltcG9ydElkIjpudWxsLCJUaXRsZSI6IlByb2R1Y3QgUm9hZG1hcCIsIk5vdGUiOm51bGwsIkh5cGVybGluayI6eyIkaWQiOiI4MzQiLCJBZGRyZXNzIjoiIiwiU3ViQWRkcmVzcyI6IiJ9LCJJc0NoYW5nZWQiOmZhbHNlLCJJc05ldyI6ZmFsc2V9fSx7IiRpZCI6IjgzNSIsIl9hdHRhY2hlZE1pbGVzdG9uZXMiOlt7IiRpZCI6IjgzNiIsIkRhdGUiOiIyMDIyLTA1LTIwVDAwOjAwOjAwIiwiU3R5bGUiOnsiJGlkIjoiODM3IiwiU2hhcGUiOjE0LCJDb25uZWN0b3JNYXJnaW4iOnsiJGlkIjoiODM4IiwiVG9wIjowLjAsIkxlZnQiOjIuMCwiUmlnaHQiOjIuMCwiQm90dG9tIjowLjB9LCJDb25uZWN0b3JTdHlsZSI6eyIkaWQiOiI4MzkiLCJMaW5lQ29sb3IiOnsiJGlkIjoiODQwIiwiJHR5cGUiOiJOTFJFLkNvbW1vbi5Eb20uU29saWRDb2xvckJydXNoLCBOTFJFLkNvbW1vbiIsIkNvbG9yIjp7IiRpZCI6Ijg0MSIsIkEiOjEyNywiUiI6NTYsIkciOjg3LCJCIjozNX19LCJMaW5lV2VpZ2h0IjoxLjAsIkxpbmVUeXBlIjowLCJQYXJlbnRTdHlsZSI6bnVsbH0sIklzQmVsb3dUaW1lYmFuZCI6dHJ1ZSwiUG9zaXRpb25PblRhc2siOjMsIkhpZGVEYXRlIjpmYWxzZSwiU2hhcGVTaXplIjoxLCJTcGFjaW5nIjoxLjAsIlBhZGRpbmciOnsiJHJlZiI6IjEyIn0sIlNoYXBlU3R5bGUiOnsiJGlkIjoiODQyIiwiTWFyZ2luIjp7IiRpZCI6Ijg0MyIsIlRvcCI6MC4wLCJMZWZ0IjowLjAsIlJpZ2h0IjowLjAsIkJvdHRvbSI6MC4wfSwiUGFkZGluZyI6eyIkaWQiOiI4NDQiLCJUb3AiOjAuMCwiTGVmdCI6MC4wLCJSaWdodCI6MC4wLCJCb3R0b20iOjAuMH0sIkJhY2tncm91bmQiOnsiJGlkIjoiODQ1IiwiQ29sb3IiOnsiJGlkIjoiODQ2IiwiQSI6MjU1LCJSIjo1NiwiRyI6ODcsIkIiOjM1fX0sIklzVmlzaWJsZSI6dHJ1ZSwiV2lkdGgiOjE4LjAsIkhlaWdodCI6MjAuMCwiQm9yZGVyU3R5bGUiOnsiJGlkIjoiODQ3IiwiTGluZUNvbG9yIjpudWxsLCJMaW5lV2VpZ2h0IjowLjAsIkxpbmVUeXBlIjowLCJQYXJlbnRTdHlsZSI6bnVsbH0sIlBhcmVudFN0eWxlIjpudWxsfSwiVGl0bGVTdHlsZSI6eyIkaWQiOiI4NDgiLCJGb250U2V0dGluZ3MiOnsiJGlkIjoiODQ5IiwiRm9udFNpemUiOjExLCJGb250TmFtZSI6IkNhbGlicmkiLCJJc0JvbGQiOnRydWUsIklzSXRhbGljIjpmYWxzZSwiSXNVbmRlcmxpbmVkIjpmYWxzZSwiUGFyZW50U3R5bGUiOm51bGx9LCJBdXRvU2l6ZSI6MCwiRm9yZWdyb3VuZCI6eyIkaWQiOiI4NTAiLCJDb2xvciI6eyIkaWQiOiI4NTEiLCJBIjoyNTUsIlIiOjAsIkciOjAsIkIiOjB9fSwiTWF4V2lkdGgiOjIwMC4wLCJNYXhIZWlnaHQiOiJJbmZpbml0eSIsIlNtYXJ0Rm9yZWdyb3VuZElzQWN0aXZlIjpmYWxzZSwiSG9yaXpvbnRhbEFsaWdubWVudCI6MSwiVmVydGljYWxBbGlnbm1lbnQiOjAsIlNtYXJ0Rm9yZWdyb3VuZCI6bnVsbCwiQmFja2dyb3VuZEZpbGxUeXBlIjowLCJNYXJnaW4iOnsiJGlkIjoiODUyIiwiVG9wIjowLjAsIkxlZnQiOjAuMCwiUmlnaHQiOjAuMCwiQm90dG9tIjowLjB9LCJQYWRkaW5nIjp7IiRpZCI6Ijg1MyIsIlRvcCI6MC4wLCJMZWZ0IjowLjAsIlJpZ2h0IjowLjAsIkJvdHRvbSI6MC4wfSwiQmFja2dyb3VuZCI6eyIkaWQiOiI4NTQiLCJDb2xvciI6eyIkaWQiOiI4NTUiLCJBIjowLCJSIjoyNTUsIkciOjI1NSwiQiI6MjU1fX0sIklzVmlzaWJsZSI6dHJ1ZSwiV2lkdGgiOjAuMCwiSGVpZ2h0IjowLjAsIkJvcmRlclN0eWxlIjp7IiRpZCI6Ijg1NiIsIkxpbmVDb2xvciI6bnVsbCwiTGluZVdlaWdodCI6MC4wLCJMaW5lVHlwZSI6MCwiUGFyZW50U3R5bGUiOm51bGx9LCJQYXJlbnRTdHlsZSI6bnVsbH0sIkRhdGVTdHlsZSI6eyIkaWQiOiI4NTciLCJGb250U2V0dGluZ3MiOnsiJGlkIjoiODU4IiwiRm9udFNpemUiOjEwLCJGb250TmFtZSI6IkNhbGlicmkiLCJJc0JvbGQiOmZhbHNlLCJJc0l0YWxpYyI6ZmFsc2UsIklzVW5kZXJsaW5lZCI6ZmFsc2UsIlBhcmVudFN0eWxlIjpudWxsfSwiQXV0b1NpemUiOjAsIkZvcmVncm91bmQiOnsiJGlkIjoiODU5IiwiQ29sb3IiOnsiJGlkIjoiODYwIiwiQSI6MjU1LCJSIjo2OCwiRyI6ODQsIkIiOjEwNn19LCJNYXhXaWR0aCI6MjAwLjAsIk1heEhlaWdodCI6IkluZmluaXR5IiwiU21hcnRGb3JlZ3JvdW5kSXNBY3RpdmUiOmZhbHNlLCJIb3Jpem9udGFsQWxpZ25tZW50IjoxLCJWZXJ0aWNhbEFsaWdubWVudCI6MCwiU21hcnRGb3JlZ3JvdW5kIjpudWxsLCJCYWNrZ3JvdW5kRmlsbFR5cGUiOjAsIk1hcmdpbiI6eyIkaWQiOiI4NjEiLCJUb3AiOjAuMCwiTGVmdCI6MC4wLCJSaWdodCI6MC4wLCJCb3R0b20iOjAuMH0sIlBhZGRpbmciOnsiJGlkIjoiODYyIiwiVG9wIjowLjAsIkxlZnQiOjAuMCwiUmlnaHQiOjAuMCwiQm90dG9tIjowLjB9LCJCYWNrZ3JvdW5kIjp7IiRpZCI6Ijg2MyIsIkNvbG9yIjp7IiRpZCI6Ijg2NCIsIkEiOjAsIlIiOjI1NSwiRyI6MjU1LCJCIjoyNTV9fSwiSXNWaXNpYmxlIjp0cnVlLCJXaWR0aCI6MC4wLCJIZWlnaHQiOjAuMCwiQm9yZGVyU3R5bGUiOnsiJGlkIjoiODY1IiwiTGluZUNvbG9yIjpudWxsLCJMaW5lV2VpZ2h0IjowLjAsIkxpbmVUeXBlIjowLCJQYXJlbnRTdHlsZSI6bnVsbH0sIlBhcmVudFN0eWxlIjpudWxsfSwiRGF0ZUZvcm1hdCI6eyIkaWQiOiI4NjYiLCJGb3JtYXRTdHJpbmciOiJNTU0gZCIsIlNlcGFyYXRvciI6Ii8iLCJVc2VJbnRlcm5hdGlvbmFsRGF0ZUZvcm1hdCI6ZmFsc2UsIkRhdGVJc1Zpc2libGUiOnRydWUsIlRpbWVJc1Zpc2libGUiOmZhbHNlLCJIb3VyRGlnaXRzIjoxLCJBbVBtRGVzaWduYXRvciI6MiwiVHJpbTAwTWludXRlcyI6ZmFsc2UsIkxhc3RLbm93blZpc2liaWxpdHlTdGF0ZSI6eyIkaWQiOiI4NjciLCJEYXRlUGFydElzVmlzaWJsZSI6dHJ1ZSwiVGltZVBhcnRJc1Zpc2libGUiOmZhbHNlfX0sIldlZWtOdW1iZXJpbmciOnsiJGlkIjoiODY4IiwiRm9ybWF0IjowLCJJc1Zpc2libGUiOmZhbHNlLCJMYXN0S25vd25WaXNpYmlsaXR5U3RhdGUiOmZhbHNlfSwiSXNWaXNpYmxlIjp0cnVlLCJQYXJlbnRTdHlsZSI6bnVsbH0sIkluZGV4IjoyMywiUGVyY2VudGFnZUNvbXBsZXRlIjpudWxsLCJQb3NpdGlvbiI6eyJSYXRpbyI6MC4wLCJJc0N1c3RvbSI6ZmFsc2V9LCJEYXRlRm9ybWF0Ijp7IiRyZWYiOiI4NjYifSwiV2Vla051bWJlcmluZyI6eyIkaWQiOiI4NjkiLCJGb3JtYXQiOjAsIklzVmlzaWJsZSI6ZmFsc2UsIkxhc3RLbm93blZpc2liaWxpdHlTdGF0ZSI6ZmFsc2V9LCJSZWxhdGVkVGFza0lkIjoiZmE4ODg2YjctNjlhNS00YzAyLTgxN2EtYWJhNTQ1NzZlOTIxIiwiSWQiOiIzZWY4MTA3OC02NjUxLTQ5NDEtOTA0ZS02MWFkYTZiNDExNDMiLCJJbXBvcnRJZCI6bnVsbCwiVGl0bGUiOiJBbHBoYSIsIk5vdGUiOm51bGwsIkh5cGVybGluayI6eyIkaWQiOiI4NzAiLCJBZGRyZXNzIjoiIiwiU3ViQWRkcmVzcyI6IiJ9LCJJc0NoYW5nZWQiOmZhbHNlLCJJc05ldyI6ZmFsc2V9LHsiJGlkIjoiODcxIiwiRGF0ZSI6IjIwMjItMDYtMzBUMjM6NTk6MDAiLCJTdHlsZSI6eyIkaWQiOiI4NzIiLCJTaGFwZSI6MTQsIkNvbm5lY3Rvck1hcmdpbiI6eyIkaWQiOiI4NzMiLCJUb3AiOjAuMCwiTGVmdCI6Mi4wLCJSaWdodCI6Mi4wLCJCb3R0b20iOjAuMH0sIkNvbm5lY3RvclN0eWxlIjp7IiRpZCI6Ijg3NCIsIkxpbmVDb2xvciI6eyIkaWQiOiI4NzUiLCIkdHlwZSI6Ik5MUkUuQ29tbW9uLkRvbS5Tb2xpZENvbG9yQnJ1c2gsIE5MUkUuQ29tbW9uIiwiQ29sb3IiOnsiJGlkIjoiODc2IiwiQSI6MTI3LCJSIjo1NiwiRyI6ODcsIkIiOjM1fX0sIkxpbmVXZWlnaHQiOjEuMCwiTGluZVR5cGUiOjAsIlBhcmVudFN0eWxlIjpudWxsfSwiSXNCZWxvd1RpbWViYW5kIjp0cnVlLCJQb3NpdGlvbk9uVGFzayI6MywiSGlkZURhdGUiOmZhbHNlLCJTaGFwZVNpemUiOjEsIlNwYWNpbmciOjEuMCwiUGFkZGluZyI6eyIkcmVmIjoiMTIifSwiU2hhcGVTdHlsZSI6eyIkaWQiOiI4NzciLCJNYXJnaW4iOnsiJHJlZiI6Ijg0MyJ9LCJQYWRkaW5nIjp7IiRyZWYiOiI4NDQifSwiQmFja2dyb3VuZCI6eyIkaWQiOiI4NzgiLCJDb2xvciI6eyIkaWQiOiI4NzkiLCJBIjoyNTUsIlIiOjU2LCJHIjo4NywiQiI6MzV9fSwiSXNWaXNpYmxlIjp0cnVlLCJXaWR0aCI6MTguMCwiSGVpZ2h0IjoyMC4wLCJCb3JkZXJTdHlsZSI6eyIkaWQiOiI4ODAiLCJMaW5lQ29sb3IiOm51bGwsIkxpbmVXZWlnaHQiOjAuMCwiTGluZVR5cGUiOjAsIlBhcmVudFN0eWxlIjpudWxsfSwiUGFyZW50U3R5bGUiOm51bGx9LCJUaXRsZVN0eWxlIjp7IiRpZCI6Ijg4MSIsIkZvbnRTZXR0aW5ncyI6eyIkaWQiOiI4ODIiLCJGb250U2l6ZSI6MTEsIkZvbnROYW1lIjoiQ2FsaWJyaSIsIklzQm9sZCI6dHJ1ZSwiSXNJdGFsaWMiOmZhbHNlLCJJc1VuZGVybGluZWQiOmZhbHNlLCJQYXJlbnRTdHlsZSI6bnVsbH0sIkF1dG9TaXplIjowLCJGb3JlZ3JvdW5kIjp7IiRpZCI6Ijg4MyIsIkNvbG9yIjp7IiRpZCI6Ijg4NC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ODUyIn0sIlBhZGRpbmciOnsiJHJlZiI6Ijg1MyJ9LCJCYWNrZ3JvdW5kIjp7IiRpZCI6Ijg4NSIsIkNvbG9yIjp7IiRpZCI6Ijg4NiIsIkEiOjAsIlIiOjI1NSwiRyI6MjU1LCJCIjoyNTV9fSwiSXNWaXNpYmxlIjp0cnVlLCJXaWR0aCI6MC4wLCJIZWlnaHQiOjAuMCwiQm9yZGVyU3R5bGUiOnsiJGlkIjoiODg3IiwiTGluZUNvbG9yIjpudWxsLCJMaW5lV2VpZ2h0IjowLjAsIkxpbmVUeXBlIjowLCJQYXJlbnRTdHlsZSI6bnVsbH0sIlBhcmVudFN0eWxlIjpudWxsfSwiRGF0ZVN0eWxlIjp7IiRpZCI6Ijg4OCIsIkZvbnRTZXR0aW5ncyI6eyIkaWQiOiI4ODkiLCJGb250U2l6ZSI6MTAsIkZvbnROYW1lIjoiQ2FsaWJyaSIsIklzQm9sZCI6ZmFsc2UsIklzSXRhbGljIjpmYWxzZSwiSXNVbmRlcmxpbmVkIjpmYWxzZSwiUGFyZW50U3R5bGUiOm51bGx9LCJBdXRvU2l6ZSI6MCwiRm9yZWdyb3VuZCI6eyIkaWQiOiI4OTAiLCJDb2xvciI6eyIkaWQiOiI4OTE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4NjEifSwiUGFkZGluZyI6eyIkcmVmIjoiODYyIn0sIkJhY2tncm91bmQiOnsiJGlkIjoiODkyIiwiQ29sb3IiOnsiJGlkIjoiODkzIiwiQSI6MCwiUiI6MjU1LCJHIjoyNTUsIkIiOjI1NX19LCJJc1Zpc2libGUiOnRydWUsIldpZHRoIjowLjAsIkhlaWdodCI6MC4wLCJCb3JkZXJTdHlsZSI6eyIkaWQiOiI4OTQiLCJMaW5lQ29sb3IiOm51bGwsIkxpbmVXZWlnaHQiOjAuMCwiTGluZVR5cGUiOjAsIlBhcmVudFN0eWxlIjpudWxsfSwiUGFyZW50U3R5bGUiOm51bGx9LCJEYXRlRm9ybWF0Ijp7IiRpZCI6Ijg5NSIsIkZvcm1hdFN0cmluZyI6Ik1NTSBkIiwiU2VwYXJhdG9yIjoiLyIsIlVzZUludGVybmF0aW9uYWxEYXRlRm9ybWF0IjpmYWxzZSwiRGF0ZUlzVmlzaWJsZSI6dHJ1ZSwiVGltZUlzVmlzaWJsZSI6ZmFsc2UsIkhvdXJEaWdpdHMiOjEsIkFtUG1EZXNpZ25hdG9yIjoyLCJUcmltMDBNaW51dGVzIjpmYWxzZSwiTGFzdEtub3duVmlzaWJpbGl0eVN0YXRlIjp7IiRpZCI6Ijg5NiIsIkRhdGVQYXJ0SXNWaXNpYmxlIjp0cnVlLCJUaW1lUGFydElzVmlzaWJsZSI6ZmFsc2V9fSwiV2Vla051bWJlcmluZyI6eyIkaWQiOiI4OTciLCJGb3JtYXQiOjAsIklzVmlzaWJsZSI6ZmFsc2UsIkxhc3RLbm93blZpc2liaWxpdHlTdGF0ZSI6ZmFsc2V9LCJJc1Zpc2libGUiOnRydWUsIlBhcmVudFN0eWxlIjpudWxsfSwiSW5kZXgiOjI0LCJQZXJjZW50YWdlQ29tcGxldGUiOm51bGwsIlBvc2l0aW9uIjp7IlJhdGlvIjowLjAsIklzQ3VzdG9tIjpmYWxzZX0sIkRhdGVGb3JtYXQiOnsiJHJlZiI6Ijg5NSJ9LCJXZWVrTnVtYmVyaW5nIjp7IiRpZCI6Ijg5OCIsIkZvcm1hdCI6MCwiSXNWaXNpYmxlIjpmYWxzZSwiTGFzdEtub3duVmlzaWJpbGl0eVN0YXRlIjpmYWxzZX0sIlJlbGF0ZWRUYXNrSWQiOiJmYTg4ODZiNy02OWE1LTRjMDItODE3YS1hYmE1NDU3NmU5MjEiLCJJZCI6IjczNjA5ZDZlLThjNjQtNDA1ZS1hZjlhLTExMTkwMDk0NWRhYSIsIkltcG9ydElkIjpudWxsLCJUaXRsZSI6IlByaXZhdGUgQmV0YSIsIk5vdGUiOm51bGwsIkh5cGVybGluayI6eyIkaWQiOiI4OTkiLCJBZGRyZXNzIjoiIiwiU3ViQWRkcmVzcyI6IiJ9LCJJc0NoYW5nZWQiOmZhbHNlLCJJc05ldyI6ZmFsc2V9LHsiJGlkIjoiOTAwIiwiRGF0ZSI6IjIwMjItMDgtMTBUMjM6NTk6MDAiLCJTdHlsZSI6eyIkaWQiOiI5MDEiLCJTaGFwZSI6MTQsIkNvbm5lY3Rvck1hcmdpbiI6eyIkaWQiOiI5MDIiLCJUb3AiOjAuMCwiTGVmdCI6Mi4wLCJSaWdodCI6Mi4wLCJCb3R0b20iOjAuMH0sIkNvbm5lY3RvclN0eWxlIjp7IiRpZCI6IjkwMyIsIkxpbmVDb2xvciI6eyIkaWQiOiI5MDQiLCIkdHlwZSI6Ik5MUkUuQ29tbW9uLkRvbS5Tb2xpZENvbG9yQnJ1c2gsIE5MUkUuQ29tbW9uIiwiQ29sb3IiOnsiJGlkIjoiOTA1IiwiQSI6MTI3LCJSIjo1NiwiRyI6ODcsIkIiOjM1fX0sIkxpbmVXZWlnaHQiOjEuMCwiTGluZVR5cGUiOjAsIlBhcmVudFN0eWxlIjpudWxsfSwiSXNCZWxvd1RpbWViYW5kIjp0cnVlLCJQb3NpdGlvbk9uVGFzayI6MywiSGlkZURhdGUiOmZhbHNlLCJTaGFwZVNpemUiOjEsIlNwYWNpbmciOjEuMCwiUGFkZGluZyI6eyIkcmVmIjoiMTIifSwiU2hhcGVTdHlsZSI6eyIkaWQiOiI5MDYiLCJNYXJnaW4iOnsiJHJlZiI6Ijg0MyJ9LCJQYWRkaW5nIjp7IiRyZWYiOiI4NDQifSwiQmFja2dyb3VuZCI6eyIkaWQiOiI5MDciLCJDb2xvciI6eyIkaWQiOiI5MDgiLCJBIjoyNTUsIlIiOjU2LCJHIjo4NywiQiI6MzV9fSwiSXNWaXNpYmxlIjp0cnVlLCJXaWR0aCI6MTguMCwiSGVpZ2h0IjoyMC4wLCJCb3JkZXJTdHlsZSI6eyIkaWQiOiI5MDkiLCJMaW5lQ29sb3IiOm51bGwsIkxpbmVXZWlnaHQiOjAuMCwiTGluZVR5cGUiOjAsIlBhcmVudFN0eWxlIjpudWxsfSwiUGFyZW50U3R5bGUiOm51bGx9LCJUaXRsZVN0eWxlIjp7IiRpZCI6IjkxMCIsIkZvbnRTZXR0aW5ncyI6eyIkaWQiOiI5MTEiLCJGb250U2l6ZSI6MTEsIkZvbnROYW1lIjoiQ2FsaWJyaSIsIklzQm9sZCI6dHJ1ZSwiSXNJdGFsaWMiOmZhbHNlLCJJc1VuZGVybGluZWQiOmZhbHNlLCJQYXJlbnRTdHlsZSI6bnVsbH0sIkF1dG9TaXplIjowLCJGb3JlZ3JvdW5kIjp7IiRpZCI6IjkxMiIsIkNvbG9yIjp7IiRpZCI6IjkxMyIsIkEiOjI1NSwiUiI6MCwiRyI6MCwiQiI6MH19LCJNYXhXaWR0aCI6MjAwLjAsIk1heEhlaWdodCI6IkluZmluaXR5IiwiU21hcnRGb3JlZ3JvdW5kSXNBY3RpdmUiOmZhbHNlLCJIb3Jpem9udGFsQWxpZ25tZW50IjoxLCJWZXJ0aWNhbEFsaWdubWVudCI6MCwiU21hcnRGb3JlZ3JvdW5kIjpudWxsLCJCYWNrZ3JvdW5kRmlsbFR5cGUiOjAsIk1hcmdpbiI6eyIkcmVmIjoiODUyIn0sIlBhZGRpbmciOnsiJHJlZiI6Ijg1MyJ9LCJCYWNrZ3JvdW5kIjp7IiRpZCI6IjkxNCIsIkNvbG9yIjp7IiRpZCI6IjkxNSIsIkEiOjAsIlIiOjI1NSwiRyI6MjU1LCJCIjoyNTV9fSwiSXNWaXNpYmxlIjp0cnVlLCJXaWR0aCI6MC4wLCJIZWlnaHQiOjAuMCwiQm9yZGVyU3R5bGUiOnsiJGlkIjoiOTE2IiwiTGluZUNvbG9yIjpudWxsLCJMaW5lV2VpZ2h0IjowLjAsIkxpbmVUeXBlIjowLCJQYXJlbnRTdHlsZSI6bnVsbH0sIlBhcmVudFN0eWxlIjpudWxsfSwiRGF0ZVN0eWxlIjp7IiRpZCI6IjkxNyIsIkZvbnRTZXR0aW5ncyI6eyIkaWQiOiI5MTgiLCJGb250U2l6ZSI6MTAsIkZvbnROYW1lIjoiQ2FsaWJyaSIsIklzQm9sZCI6ZmFsc2UsIklzSXRhbGljIjpmYWxzZSwiSXNVbmRlcmxpbmVkIjpmYWxzZSwiUGFyZW50U3R5bGUiOm51bGx9LCJBdXRvU2l6ZSI6MCwiRm9yZWdyb3VuZCI6eyIkaWQiOiI5MTkiLCJDb2xvciI6eyIkaWQiOiI5MjA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4NjEifSwiUGFkZGluZyI6eyIkcmVmIjoiODYyIn0sIkJhY2tncm91bmQiOnsiJGlkIjoiOTIxIiwiQ29sb3IiOnsiJGlkIjoiOTIyIiwiQSI6MCwiUiI6MjU1LCJHIjoyNTUsIkIiOjI1NX19LCJJc1Zpc2libGUiOnRydWUsIldpZHRoIjowLjAsIkhlaWdodCI6MC4wLCJCb3JkZXJTdHlsZSI6eyIkaWQiOiI5MjMiLCJMaW5lQ29sb3IiOm51bGwsIkxpbmVXZWlnaHQiOjAuMCwiTGluZVR5cGUiOjAsIlBhcmVudFN0eWxlIjpudWxsfSwiUGFyZW50U3R5bGUiOm51bGx9LCJEYXRlRm9ybWF0Ijp7IiRpZCI6IjkyNCIsIkZvcm1hdFN0cmluZyI6Ik1NTSBkIiwiU2VwYXJhdG9yIjoiLyIsIlVzZUludGVybmF0aW9uYWxEYXRlRm9ybWF0IjpmYWxzZSwiRGF0ZUlzVmlzaWJsZSI6dHJ1ZSwiVGltZUlzVmlzaWJsZSI6ZmFsc2UsIkhvdXJEaWdpdHMiOjEsIkFtUG1EZXNpZ25hdG9yIjoyLCJUcmltMDBNaW51dGVzIjpmYWxzZSwiTGFzdEtub3duVmlzaWJpbGl0eVN0YXRlIjp7IiRpZCI6IjkyNSIsIkRhdGVQYXJ0SXNWaXNpYmxlIjp0cnVlLCJUaW1lUGFydElzVmlzaWJsZSI6ZmFsc2V9fSwiV2Vla051bWJlcmluZyI6eyIkaWQiOiI5MjYiLCJGb3JtYXQiOjAsIklzVmlzaWJsZSI6ZmFsc2UsIkxhc3RLbm93blZpc2liaWxpdHlTdGF0ZSI6ZmFsc2V9LCJJc1Zpc2libGUiOnRydWUsIlBhcmVudFN0eWxlIjpudWxsfSwiSW5kZXgiOjI1LCJQZXJjZW50YWdlQ29tcGxldGUiOm51bGwsIlBvc2l0aW9uIjp7IlJhdGlvIjowLjAsIklzQ3VzdG9tIjpmYWxzZX0sIkRhdGVGb3JtYXQiOnsiJHJlZiI6IjkyNCJ9LCJXZWVrTnVtYmVyaW5nIjp7IiRpZCI6IjkyNyIsIkZvcm1hdCI6MCwiSXNWaXNpYmxlIjpmYWxzZSwiTGFzdEtub3duVmlzaWJpbGl0eVN0YXRlIjpmYWxzZX0sIlJlbGF0ZWRUYXNrSWQiOiJmYTg4ODZiNy02OWE1LTRjMDItODE3YS1hYmE1NDU3NmU5MjEiLCJJZCI6IjY0Mjc1M2NlLTMzNjItNDUyNC1iZGE3LWU0ZWUxMDlhNWY5ZCIsIkltcG9ydElkIjpudWxsLCJUaXRsZSI6IlB1YmxpYyBCZXRhIiwiTm90ZSI6bnVsbCwiSHlwZXJsaW5rIjp7IiRpZCI6IjkyOCIsIkFkZHJlc3MiOiIiLCJTdWJBZGRyZXNzIjoiIn0sIklzQ2hhbmdlZCI6ZmFsc2UsIklzTmV3IjpmYWxzZX1dLCJUYXNrRGVmaW5pdGlvbiI6eyIkaWQiOiI5MjkiLCJHcm91cE5hbWUiOiIyZGQ4MDU3Ni1lM2QzLTRmYmQtYWY0ZC01ZWZjYmIyMTQzMjEiLCJTdGFydERhdGUiOiIyMDIyLTA0LTAxVDAyOjM0OjAwWiIsIkVuZERhdGUiOiIyMDIyLTA5LTAxVDIyOjA4OjAwWiIsIlBlcmNlbnRhZ2VDb21wbGV0ZSI6bnVsbCwiU3R5bGUiOnsiJGlkIjoiOTMwIiwiU2hhcGUiOjcsIlNoYXBlVGhpY2tuZXNzIjowLCJEdXJhdGlvbkZvcm1hdCI6NSwiSW5jbHVkZU5vbldvcmtpbmdEYXlzSW5EdXJhdGlvbiI6ZmFsc2UsIlBlcmNlbnRhZ2VDb21wbGV0ZVN0eWxlIjp7IiRpZCI6IjkzMSIsIkZvbnRTZXR0aW5ncyI6eyIkaWQiOiI5MzIiLCJGb250U2l6ZSI6MTAsIkZvbnROYW1lIjoiQ2FsaWJyaSIsIklzQm9sZCI6ZmFsc2UsIklzSXRhbGljIjpmYWxzZSwiSXNVbmRlcmxpbmVkIjpmYWxzZSwiUGFyZW50U3R5bGUiOm51bGx9LCJBdXRvU2l6ZSI6MCwiRm9yZWdyb3VuZCI6eyIkcmVmIjoiNDQxIn0sIk1heFdpZHRoIjoyMDAuMCwiTWF4SGVpZ2h0IjoiSW5maW5pdHkiLCJTbWFydEZvcmVncm91bmRJc0FjdGl2ZSI6ZmFsc2UsIkhvcml6b250YWxBbGlnbm1lbnQiOjAsIlZlcnRpY2FsQWxpZ25tZW50IjowLCJTbWFydEZvcmVncm91bmQiOm51bGwsIkJhY2tncm91bmRGaWxsVHlwZSI6MCwiTWFyZ2luIjp7IiRyZWYiOiI3OTQifSwiUGFkZGluZyI6eyIkcmVmIjoiNzk1In0sIkJhY2tncm91bmQiOnsiJHJlZiI6IjIzMyJ9LCJJc1Zpc2libGUiOnRydWUsIldpZHRoIjowLjAsIkhlaWdodCI6MC4wLCJCb3JkZXJTdHlsZSI6eyIkaWQiOiI5MzMiLCJMaW5lQ29sb3IiOm51bGwsIkxpbmVXZWlnaHQiOjAuMCwiTGluZVR5cGUiOjAsIlBhcmVudFN0eWxlIjpudWxsfSwiUGFyZW50U3R5bGUiOm51bGx9LCJEdXJhdGlvblN0eWxlIjp7IiRpZCI6IjkzNCIsIkZvbnRTZXR0aW5ncyI6eyIkaWQiOiI5MzUiLCJGb250U2l6ZSI6MTAsIkZvbnROYW1lIjoiQ2FsaWJyaSIsIklzQm9sZCI6dHJ1ZSwiSXNJdGFsaWMiOmZhbHNlLCJJc1VuZGVybGluZWQiOmZhbHNlLCJQYXJlbnRTdHlsZSI6bnVsbH0sIkF1dG9TaXplIjowLCJGb3JlZ3JvdW5kIjp7IiRpZCI6IjkzNiIsIkNvbG9yIjp7IiRpZCI6IjkzNyIsIkEiOjI1NSwiUiI6NTYsIkciOjg3LCJCIjozNX19LCJNYXhXaWR0aCI6MjAwLjAsIk1heEhlaWdodCI6IkluZmluaXR5IiwiU21hcnRGb3JlZ3JvdW5kSXNBY3RpdmUiOmZhbHNlLCJIb3Jpem9udGFsQWxpZ25tZW50IjowLCJWZXJ0aWNhbEFsaWdubWVudCI6MCwiU21hcnRGb3JlZ3JvdW5kIjpudWxsLCJCYWNrZ3JvdW5kRmlsbFR5cGUiOjAsIk1hcmdpbiI6eyIkcmVmIjoiODAyIn0sIlBhZGRpbmciOnsiJHJlZiI6IjgwMyJ9LCJCYWNrZ3JvdW5kIjp7IiRpZCI6IjkzOCIsIkNvbG9yIjp7IiRpZCI6IjkzOSIsIkEiOjAsIlIiOjI1NSwiRyI6MjU1LCJCIjoyNTV9fSwiSXNWaXNpYmxlIjp0cnVlLCJXaWR0aCI6MC4wLCJIZWlnaHQiOjAuMCwiQm9yZGVyU3R5bGUiOnsiJGlkIjoiOTQwIiwiTGluZUNvbG9yIjpudWxsLCJMaW5lV2VpZ2h0IjowLjAsIkxpbmVUeXBlIjowLCJQYXJlbnRTdHlsZSI6bnVsbH0sIlBhcmVudFN0eWxlIjpudWxsfSwiSG9yaXpvbnRhbENvbm5lY3RvclN0eWxlIjp7IiRpZCI6Ijk0MSIsIkxpbmVDb2xvciI6eyIkcmVmIjoiNjIifSwiTGluZVdlaWdodCI6MS4wLCJMaW5lVHlwZSI6MCwiUGFyZW50U3R5bGUiOm51bGx9LCJWZXJ0aWNhbENvbm5lY3RvclN0eWxlIjp7IiRpZCI6Ijk0MiIsIkxpbmVDb2xvciI6eyIkcmVmIjoiNjUifSwiTGluZVdlaWdodCI6MC4wLCJMaW5lVHlwZSI6MCwiUGFyZW50U3R5bGUiOm51bGx9LCJNYXJnaW4iOm51bGwsIlN0YXJ0RGF0ZVBvc2l0aW9uIjo2LCJFbmREYXRlUG9zaXRpb24iOjYsIkRhdGVJc1Zpc2libGUiOmZhbHNlLCJUaXRsZVBvc2l0aW9uIjoxLCJEdXJhdGlvblBvc2l0aW9uIjowLCJQZXJjZW50YWdlQ29tcGxldGVkUG9zaXRpb24iOjYsIlNwYWNpbmciOjMsIklzQmVsb3dUaW1lYmFuZCI6dHJ1ZSwiUGVyY2VudGFnZUNvbXBsZXRlU2hhcGVPcGFjaXR5IjozNSwiU2hhcGVTdHlsZSI6eyIkaWQiOiI5NDMiLCJNYXJnaW4iOnsiJHJlZiI6IjgxMCJ9LCJQYWRkaW5nIjp7IiRyZWYiOiI4MTEifSwiQmFja2dyb3VuZCI6eyIkaWQiOiI5NDQiLCJDb2xvciI6eyIkaWQiOiI5NDUiLCJBIjoyNTUsIlIiOjExMiwiRyI6MTczLCJCIjo3MX19LCJJc1Zpc2libGUiOnRydWUsIldpZHRoIjowLjAsIkhlaWdodCI6MTAuMCwiQm9yZGVyU3R5bGUiOnsiJGlkIjoiOTQ2IiwiTGluZUNvbG9yIjp7IiRpZCI6Ijk0NyIsIiR0eXBlIjoiTkxSRS5Db21tb24uRG9tLlNvbGlkQ29sb3JCcnVzaCwgTkxSRS5Db21tb24iLCJDb2xvciI6eyIkaWQiOiI5NDgiLCJBIjoyNTUsIlIiOjI1NSwiRyI6MCwiQiI6MH19LCJMaW5lV2VpZ2h0IjowLjAsIkxpbmVUeXBlIjowLCJQYXJlbnRTdHlsZSI6bnVsbH0sIlBhcmVudFN0eWxlIjpudWxsfSwiVGl0bGVTdHlsZSI6eyIkaWQiOiI5NDkiLCJGb250U2V0dGluZ3MiOnsiJGlkIjoiOTUwIiwiRm9udFNpemUiOjExLCJGb250TmFtZSI6IkNhbGlicmkiLCJJc0JvbGQiOnRydWUsIklzSXRhbGljIjpmYWxzZSwiSXNVbmRlcmxpbmVkIjpmYWxzZSwiUGFyZW50U3R5bGUiOm51bGx9LCJBdXRvU2l6ZSI6MCwiRm9yZWdyb3VuZCI6eyIkaWQiOiI5NTEiLCJDb2xvciI6eyIkaWQiOiI5NTI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gyMSJ9LCJQYWRkaW5nIjp7IiRyZWYiOiI4MjIifSwiQmFja2dyb3VuZCI6eyIkaWQiOiI5NTMiLCJDb2xvciI6eyIkaWQiOiI5NTQiLCJBIjowLCJSIjoyNTUsIkciOjI1NSwiQiI6MjU1fX0sIklzVmlzaWJsZSI6dHJ1ZSwiV2lkdGgiOjAuMCwiSGVpZ2h0IjowLjAsIkJvcmRlclN0eWxlIjp7IiRpZCI6Ijk1NSIsIkxpbmVDb2xvciI6bnVsbCwiTGluZVdlaWdodCI6MC4wLCJMaW5lVHlwZSI6MCwiUGFyZW50U3R5bGUiOm51bGx9LCJQYXJlbnRTdHlsZSI6bnVsbH0sIkRhdGVTdHlsZSI6eyIkaWQiOiI5NTYiLCJGb250U2V0dGluZ3MiOnsiJGlkIjoiOTU3IiwiRm9udFNpemUiOjEwLCJGb250TmFtZSI6IkNhbGlicmkiLCJJc0JvbGQiOmZhbHNlLCJJc0l0YWxpYyI6ZmFsc2UsIklzVW5kZXJsaW5lZCI6ZmFsc2UsIlBhcmVudFN0eWxlIjpudWxsfSwiQXV0b1NpemUiOjAsIkZvcmVncm91bmQiOnsiJHJlZiI6Ijg2In0sIk1heFdpZHRoIjoyMDAuMCwiTWF4SGVpZ2h0IjoiSW5maW5pdHkiLCJTbWFydEZvcmVncm91bmRJc0FjdGl2ZSI6ZmFsc2UsIkhvcml6b250YWxBbGlnbm1lbnQiOjAsIlZlcnRpY2FsQWxpZ25tZW50IjowLCJTbWFydEZvcmVncm91bmQiOm51bGwsIkJhY2tncm91bmRGaWxsVHlwZSI6MCwiTWFyZ2luIjp7IiRyZWYiOiI4MjgifSwiUGFkZGluZyI6eyIkcmVmIjoiODI5In0sIkJhY2tncm91bmQiOnsiJHJlZiI6IjkwIn0sIklzVmlzaWJsZSI6dHJ1ZSwiV2lkdGgiOjAuMCwiSGVpZ2h0IjowLjAsIkJvcmRlclN0eWxlIjp7IiRpZCI6Ijk1OCIsIkxpbmVDb2xvciI6bnVsbCwiTGluZVdlaWdodCI6MC4wLCJMaW5lVHlwZSI6MCwiUGFyZW50U3R5bGUiOm51bGx9LCJQYXJlbnRTdHlsZSI6bnVsbH0sIkRhdGVGb3JtYXQiOnsiJGlkIjoiOTU5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k2MCIsIkZvcm1hdCI6MCwiSXNWaXNpYmxlIjpmYWxzZSwiTGFzdEtub3duVmlzaWJpbGl0eVN0YXRlIjpmYWxzZX0sIklzVmlzaWJsZSI6dHJ1ZSwiUGFyZW50U3R5bGUiOm51bGx9LCJJbmRleCI6MjIsIlNtYXJ0RHVyYXRpb25BY3RpdmF0ZWQiOmZhbHNlLCJEYXRlRm9ybWF0Ijp7IiRyZWYiOiI5NTkifSwiV2Vla051bWJlcmluZyI6eyIkaWQiOiI5NjEiLCJGb3JtYXQiOjAsIklzVmlzaWJsZSI6ZmFsc2UsIkxhc3RLbm93blZpc2liaWxpdHlTdGF0ZSI6ZmFsc2V9LCJJZCI6ImZhODg4NmI3LTY5YTUtNGMwMi04MTdhLWFiYTU0NTc2ZTkyMSIsIkltcG9ydElkIjpudWxsLCJUaXRsZSI6IkRldmVsb3BtZW50IiwiTm90ZSI6bnVsbCwiSHlwZXJsaW5rIjp7IiRpZCI6Ijk2MiIsIkFkZHJlc3MiOiIiLCJTdWJBZGRyZXNzIjoiIn0sIklzQ2hhbmdlZCI6ZmFsc2UsIklzTmV3IjpmYWxzZX19LHsiJGlkIjoiOTYzIiwiX2F0dGFjaGVkTWlsZXN0b25lcyI6W10sIlRhc2tEZWZpbml0aW9uIjp7IiRpZCI6Ijk2NCIsIkdyb3VwTmFtZSI6IjJkZDgwNTc2LWUzZDMtNGZiZC1hZjRkLTVlZmNiYjIxNDMyMSIsIlN0YXJ0RGF0ZSI6IjIwMjItMDktMDFUMTQ6NTI6MDBaIiwiRW5kRGF0ZSI6IjIwMjItMTAtMjFUMDE6NTE6MDBaIiwiUGVyY2VudGFnZUNvbXBsZXRlIjpudWxsLCJTdHlsZSI6eyIkaWQiOiI5NjUiLCJTaGFwZSI6NywiU2hhcGVUaGlja25lc3MiOjAsIkR1cmF0aW9uRm9ybWF0Ijo1LCJJbmNsdWRlTm9uV29ya2luZ0RheXNJbkR1cmF0aW9uIjpmYWxzZSwiUGVyY2VudGFnZUNvbXBsZXRlU3R5bGUiOnsiJGlkIjoiOTY2IiwiRm9udFNldHRpbmdzIjp7IiRpZCI6Ijk2NyIsIkZvbnRTaXplIjoxMCwiRm9udE5hbWUiOiJDYWxpYnJpIiwiSXNCb2xkIjpmYWxzZSwiSXNJdGFsaWMiOmZhbHNlLCJJc1VuZGVybGluZWQiOmZhbHNlLCJQYXJlbnRTdHlsZSI6bnVsbH0sIkF1dG9TaXplIjowLCJGb3JlZ3JvdW5kIjp7IiRyZWYiOiIxNDgifSwiTWF4V2lkdGgiOjIwMC4wLCJNYXhIZWlnaHQiOiJJbmZpbml0eSIsIlNtYXJ0Rm9yZWdyb3VuZElzQWN0aXZlIjpmYWxzZSwiSG9yaXpvbnRhbEFsaWdubWVudCI6MCwiVmVydGljYWxBbGlnbm1lbnQiOjAsIlNtYXJ0Rm9yZWdyb3VuZCI6bnVsbCwiQmFja2dyb3VuZEZpbGxUeXBlIjowLCJNYXJnaW4iOnsiJHJlZiI6Ijc5NCJ9LCJQYWRkaW5nIjp7IiRyZWYiOiI3OTUifSwiQmFja2dyb3VuZCI6eyIkcmVmIjoiMTUyIn0sIklzVmlzaWJsZSI6dHJ1ZSwiV2lkdGgiOjAuMCwiSGVpZ2h0IjowLjAsIkJvcmRlclN0eWxlIjp7IiRpZCI6Ijk2OCIsIkxpbmVDb2xvciI6bnVsbCwiTGluZVdlaWdodCI6MC4wLCJMaW5lVHlwZSI6MCwiUGFyZW50U3R5bGUiOm51bGx9LCJQYXJlbnRTdHlsZSI6bnVsbH0sIkR1cmF0aW9uU3R5bGUiOnsiJGlkIjoiOTY5IiwiRm9udFNldHRpbmdzIjp7IiRpZCI6Ijk3MCIsIkZvbnRTaXplIjoxMCwiRm9udE5hbWUiOiJDYWxpYnJpIiwiSXNCb2xkIjp0cnVlLCJJc0l0YWxpYyI6ZmFsc2UsIklzVW5kZXJsaW5lZCI6ZmFsc2UsIlBhcmVudFN0eWxlIjpudWxsfSwiQXV0b1NpemUiOjAsIkZvcmVncm91bmQiOnsiJGlkIjoiOTcxIiwiQ29sb3IiOnsiJGlkIjoiOTcyIiwiQSI6MjU1LCJSIjo2OCwiRyI6ODQsIkIiOjEwNn19LCJNYXhXaWR0aCI6MjAwLjAsIk1heEhlaWdodCI6IkluZmluaXR5IiwiU21hcnRGb3JlZ3JvdW5kSXNBY3RpdmUiOmZhbHNlLCJIb3Jpem9udGFsQWxpZ25tZW50IjowLCJWZXJ0aWNhbEFsaWdubWVudCI6MCwiU21hcnRGb3JlZ3JvdW5kIjpudWxsLCJCYWNrZ3JvdW5kRmlsbFR5cGUiOjAsIk1hcmdpbiI6eyIkcmVmIjoiODAyIn0sIlBhZGRpbmciOnsiJHJlZiI6IjgwMyJ9LCJCYWNrZ3JvdW5kIjp7IiRyZWYiOiIxNjEifSwiSXNWaXNpYmxlIjp0cnVlLCJXaWR0aCI6MC4wLCJIZWlnaHQiOjAuMCwiQm9yZGVyU3R5bGUiOnsiJGlkIjoiOTczIiwiTGluZUNvbG9yIjpudWxsLCJMaW5lV2VpZ2h0IjowLjAsIkxpbmVUeXBlIjowLCJQYXJlbnRTdHlsZSI6bnVsbH0sIlBhcmVudFN0eWxlIjpudWxsfSwiSG9yaXpvbnRhbENvbm5lY3RvclN0eWxlIjp7IiRpZCI6Ijk3NCIsIkxpbmVDb2xvciI6eyIkcmVmIjoiMTY0In0sIkxpbmVXZWlnaHQiOjEuMCwiTGluZVR5cGUiOjAsIlBhcmVudFN0eWxlIjpudWxsfSwiVmVydGljYWxDb25uZWN0b3JTdHlsZSI6eyIkaWQiOiI5NzUiLCJMaW5lQ29sb3IiOnsiJHJlZiI6IjE2NyJ9LCJMaW5lV2VpZ2h0IjowLjAsIkxpbmVUeXBlIjowLCJQYXJlbnRTdHlsZSI6bnVsbH0sIk1hcmdpbiI6bnVsbCwiU3RhcnREYXRlUG9zaXRpb24iOjYsIkVuZERhdGVQb3NpdGlvbiI6NiwiRGF0ZUlzVmlzaWJsZSI6ZmFsc2UsIlRpdGxlUG9zaXRpb24iOjEsIkR1cmF0aW9uUG9zaXRpb24iOjYsIlBlcmNlbnRhZ2VDb21wbGV0ZWRQb3NpdGlvbiI6NiwiU3BhY2luZyI6MywiSXNCZWxvd1RpbWViYW5kIjp0cnVlLCJQZXJjZW50YWdlQ29tcGxldGVTaGFwZU9wYWNpdHkiOjM1LCJTaGFwZVN0eWxlIjp7IiRpZCI6Ijk3NiIsIk1hcmdpbiI6eyIkcmVmIjoiODEwIn0sIlBhZGRpbmciOnsiJHJlZiI6IjgxMSJ9LCJCYWNrZ3JvdW5kIjp7IiRpZCI6Ijk3NyIsIkNvbG9yIjp7IiRpZCI6Ijk3OCIsIkEiOjI1NSwiUiI6MTEyLCJHIjoxNzMsIkIiOjcxfX0sIklzVmlzaWJsZSI6dHJ1ZSwiV2lkdGgiOjAuMCwiSGVpZ2h0IjoxMC4wLCJCb3JkZXJTdHlsZSI6eyIkaWQiOiI5NzkiLCJMaW5lQ29sb3IiOnsiJHJlZiI6IjE3NSJ9LCJMaW5lV2VpZ2h0IjowLjAsIkxpbmVUeXBlIjowLCJQYXJlbnRTdHlsZSI6bnVsbH0sIlBhcmVudFN0eWxlIjpudWxsfSwiVGl0bGVTdHlsZSI6eyIkaWQiOiI5ODAiLCJGb250U2V0dGluZ3MiOnsiJGlkIjoiOTgxIiwiRm9udFNpemUiOjExLCJGb250TmFtZSI6IkNhbGlicmkiLCJJc0JvbGQiOnRydWUsIklzSXRhbGljIjpmYWxzZSwiSXNVbmRlcmxpbmVkIjpmYWxzZSwiUGFyZW50U3R5bGUiOm51bGx9LCJBdXRvU2l6ZSI6MCwiRm9yZWdyb3VuZCI6eyIkaWQiOiI5ODIiLCJDb2xvciI6eyIkaWQiOiI5ODMiLCJBIjoyNTUsIlIiOjAsIkciOjAsIkIiOjB9fSwiTWF4V2lkdGgiOjcyMC4wLCJNYXhIZWlnaHQiOiJJbmZpbml0eSIsIlNtYXJ0Rm9yZWdyb3VuZElzQWN0aXZlIjpmYWxzZSwiSG9yaXpvbnRhbEFsaWdubWVudCI6MCwiVmVydGljYWxBbGlnbm1lbnQiOjAsIlNtYXJ0Rm9yZWdyb3VuZCI6bnVsbCwiQmFja2dyb3VuZEZpbGxUeXBlIjowLCJNYXJnaW4iOnsiJHJlZiI6IjgyMSJ9LCJQYWRkaW5nIjp7IiRyZWYiOiI4MjIifSwiQmFja2dyb3VuZCI6eyIkaWQiOiI5ODQiLCJDb2xvciI6eyIkaWQiOiI5ODUiLCJBIjowLCJSIjoyNTUsIkciOjI1NSwiQiI6MjU1fX0sIklzVmlzaWJsZSI6dHJ1ZSwiV2lkdGgiOjAuMCwiSGVpZ2h0IjowLjAsIkJvcmRlclN0eWxlIjp7IiRpZCI6Ijk4NiIsIkxpbmVDb2xvciI6bnVsbCwiTGluZVdlaWdodCI6MC4wLCJMaW5lVHlwZSI6MCwiUGFyZW50U3R5bGUiOm51bGx9LCJQYXJlbnRTdHlsZSI6bnVsbH0sIkRhdGVTdHlsZSI6eyIkaWQiOiI5ODciLCJGb250U2V0dGluZ3MiOnsiJGlkIjoiOTg4IiwiRm9udFNpemUiOjEwLCJGb250TmFtZSI6IkNhbGlicmkiLCJJc0JvbGQiOmZhbHNlLCJJc0l0YWxpYyI6ZmFsc2UsIklzVW5kZXJsaW5lZCI6ZmFsc2UsIlBhcmVudFN0eWxlIjpudWxsfSwiQXV0b1NpemUiOjAsIkZvcmVncm91bmQiOnsiJHJlZiI6Ijg2In0sIk1heFdpZHRoIjoyMDAuMCwiTWF4SGVpZ2h0IjoiSW5maW5pdHkiLCJTbWFydEZvcmVncm91bmRJc0FjdGl2ZSI6ZmFsc2UsIkhvcml6b250YWxBbGlnbm1lbnQiOjIsIlZlcnRpY2FsQWxpZ25tZW50IjowLCJTbWFydEZvcmVncm91bmQiOm51bGwsIkJhY2tncm91bmRGaWxsVHlwZSI6MCwiTWFyZ2luIjp7IiRyZWYiOiI4MjgifSwiUGFkZGluZyI6eyIkcmVmIjoiODI5In0sIkJhY2tncm91bmQiOnsiJHJlZiI6IjE5MCJ9LCJJc1Zpc2libGUiOnRydWUsIldpZHRoIjowLjAsIkhlaWdodCI6MC4wLCJCb3JkZXJTdHlsZSI6eyIkaWQiOiI5ODkiLCJMaW5lQ29sb3IiOm51bGwsIkxpbmVXZWlnaHQiOjAuMCwiTGluZVR5cGUiOjAsIlBhcmVudFN0eWxlIjpudWxsfSwiUGFyZW50U3R5bGUiOm51bGx9LCJEYXRlRm9ybWF0Ijp7IiRpZCI6Ijk5MC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5OTEiLCJGb3JtYXQiOjAsIklzVmlzaWJsZSI6ZmFsc2UsIkxhc3RLbm93blZpc2liaWxpdHlTdGF0ZSI6ZmFsc2V9LCJJc1Zpc2libGUiOnRydWUsIlBhcmVudFN0eWxlIjpudWxsfSwiSW5kZXgiOjI2LCJTbWFydER1cmF0aW9uQWN0aXZhdGVkIjpmYWxzZSwiRGF0ZUZvcm1hdCI6eyIkcmVmIjoiOTkwIn0sIldlZWtOdW1iZXJpbmciOnsiJGlkIjoiOTkyIiwiRm9ybWF0IjowLCJJc1Zpc2libGUiOmZhbHNlLCJMYXN0S25vd25WaXNpYmlsaXR5U3RhdGUiOmZhbHNlfSwiSWQiOiJhMDAwNTAxMy1kMTQzLTRlY2EtODc5OS1mZTAwMjFhMjY2ZTAiLCJJbXBvcnRJZCI6bnVsbCwiVGl0bGUiOiJSQyIsIk5vdGUiOm51bGwsIkh5cGVybGluayI6eyIkaWQiOiI5OTMiLCJBZGRyZXNzIjoiIiwiU3ViQWRkcmVzcyI6IiJ9LCJJc0NoYW5nZWQiOmZhbHNlLCJJc05ldyI6ZmFsc2V9fSx7IiRpZCI6Ijk5NCIsIl9hdHRhY2hlZE1pbGVzdG9uZXMiOlt7IiRpZCI6Ijk5NSIsIkRhdGUiOiIyMDIyLTExLTE1VDIzOjU5OjAwIiwiU3R5bGUiOnsiJGlkIjoiOTk2IiwiU2hhcGUiOjE0LCJDb25uZWN0b3JNYXJnaW4iOnsiJGlkIjoiOTk3IiwiVG9wIjowLjAsIkxlZnQiOjIuMCwiUmlnaHQiOjIuMCwiQm90dG9tIjowLjB9LCJDb25uZWN0b3JTdHlsZSI6eyIkaWQiOiI5OTgiLCJMaW5lQ29sb3IiOnsiJGlkIjoiOTk5IiwiJHR5cGUiOiJOTFJFLkNvbW1vbi5Eb20uU29saWRDb2xvckJydXNoLCBOTFJFLkNvbW1vbiIsIkNvbG9yIjp7IiRpZCI6IjEwMDAiLCJBIjoxMjcsIlIiOjU2LCJHIjo4NywiQiI6MzV9fSwiTGluZVdlaWdodCI6MS4wLCJMaW5lVHlwZSI6MCwiUGFyZW50U3R5bGUiOm51bGx9LCJJc0JlbG93VGltZWJhbmQiOnRydWUsIlBvc2l0aW9uT25UYXNrIjozLCJIaWRlRGF0ZSI6ZmFsc2UsIlNoYXBlU2l6ZSI6MSwiU3BhY2luZyI6MS4wLCJQYWRkaW5nIjp7IiRyZWYiOiIxMiJ9LCJTaGFwZVN0eWxlIjp7IiRpZCI6IjEwMDEiLCJNYXJnaW4iOnsiJHJlZiI6Ijg0MyJ9LCJQYWRkaW5nIjp7IiRyZWYiOiI4NDQifSwiQmFja2dyb3VuZCI6eyIkaWQiOiIxMDAyIiwiQ29sb3IiOnsiJGlkIjoiMTAwMyIsIkEiOjI1NSwiUiI6NTYsIkciOjg3LCJCIjozNX19LCJJc1Zpc2libGUiOnRydWUsIldpZHRoIjoxOC4wLCJIZWlnaHQiOjIwLjAsIkJvcmRlclN0eWxlIjp7IiRpZCI6IjEwMDQiLCJMaW5lQ29sb3IiOm51bGwsIkxpbmVXZWlnaHQiOjAuMCwiTGluZVR5cGUiOjAsIlBhcmVudFN0eWxlIjpudWxsfSwiUGFyZW50U3R5bGUiOm51bGx9LCJUaXRsZVN0eWxlIjp7IiRpZCI6IjEwMDUiLCJGb250U2V0dGluZ3MiOnsiJGlkIjoiMTAwNiIsIkZvbnRTaXplIjoxMSwiRm9udE5hbWUiOiJDYWxpYnJpIiwiSXNCb2xkIjp0cnVlLCJJc0l0YWxpYyI6ZmFsc2UsIklzVW5kZXJsaW5lZCI6ZmFsc2UsIlBhcmVudFN0eWxlIjpudWxsfSwiQXV0b1NpemUiOjAsIkZvcmVncm91bmQiOnsiJGlkIjoiMTAwNyIsIkNvbG9yIjp7IiRpZCI6IjEwMDg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g1MiJ9LCJQYWRkaW5nIjp7IiRyZWYiOiI4NTMifSwiQmFja2dyb3VuZCI6eyIkaWQiOiIxMDA5IiwiQ29sb3IiOnsiJGlkIjoiMTAxMCIsIkEiOjAsIlIiOjI1NSwiRyI6MjU1LCJCIjoyNTV9fSwiSXNWaXNpYmxlIjp0cnVlLCJXaWR0aCI6MC4wLCJIZWlnaHQiOjAuMCwiQm9yZGVyU3R5bGUiOnsiJGlkIjoiMTAxMSIsIkxpbmVDb2xvciI6bnVsbCwiTGluZVdlaWdodCI6MC4wLCJMaW5lVHlwZSI6MCwiUGFyZW50U3R5bGUiOm51bGx9LCJQYXJlbnRTdHlsZSI6bnVsbH0sIkRhdGVTdHlsZSI6eyIkaWQiOiIxMDEyIiwiRm9udFNldHRpbmdzIjp7IiRpZCI6IjEwMTMiLCJGb250U2l6ZSI6MTAsIkZvbnROYW1lIjoiQ2FsaWJyaSIsIklzQm9sZCI6ZmFsc2UsIklzSXRhbGljIjpmYWxzZSwiSXNVbmRlcmxpbmVkIjpmYWxzZSwiUGFyZW50U3R5bGUiOm51bGx9LCJBdXRvU2l6ZSI6MCwiRm9yZWdyb3VuZCI6eyIkaWQiOiIxMDE0IiwiQ29sb3IiOnsiJGlkIjoiMTAxNSIsIkEiOjI1NSwiUiI6NjgsIkciOjg0LCJCIjoxMDZ9fSwiTWF4V2lkdGgiOjIwMC4wLCJNYXhIZWlnaHQiOiJJbmZpbml0eSIsIlNtYXJ0Rm9yZWdyb3VuZElzQWN0aXZlIjpmYWxzZSwiSG9yaXpvbnRhbEFsaWdubWVudCI6MSwiVmVydGljYWxBbGlnbm1lbnQiOjAsIlNtYXJ0Rm9yZWdyb3VuZCI6bnVsbCwiQmFja2dyb3VuZEZpbGxUeXBlIjowLCJNYXJnaW4iOnsiJHJlZiI6Ijg2MSJ9LCJQYWRkaW5nIjp7IiRyZWYiOiI4NjIifSwiQmFja2dyb3VuZCI6eyIkaWQiOiIxMDE2IiwiQ29sb3IiOnsiJGlkIjoiMTAxNyIsIkEiOjAsIlIiOjI1NSwiRyI6MjU1LCJCIjoyNTV9fSwiSXNWaXNpYmxlIjp0cnVlLCJXaWR0aCI6MC4wLCJIZWlnaHQiOjAuMCwiQm9yZGVyU3R5bGUiOnsiJGlkIjoiMTAxOCIsIkxpbmVDb2xvciI6bnVsbCwiTGluZVdlaWdodCI6MC4wLCJMaW5lVHlwZSI6MCwiUGFyZW50U3R5bGUiOm51bGx9LCJQYXJlbnRTdHlsZSI6bnVsbH0sIkRhdGVGb3JtYXQiOnsiJGlkIjoiMTAxOSIsIkZvcm1hdFN0cmluZyI6Ik1NTSBkIiwiU2VwYXJhdG9yIjoiLyIsIlVzZUludGVybmF0aW9uYWxEYXRlRm9ybWF0IjpmYWxzZSwiRGF0ZUlzVmlzaWJsZSI6dHJ1ZSwiVGltZUlzVmlzaWJsZSI6ZmFsc2UsIkhvdXJEaWdpdHMiOjEsIkFtUG1EZXNpZ25hdG9yIjoyLCJUcmltMDBNaW51dGVzIjpmYWxzZSwiTGFzdEtub3duVmlzaWJpbGl0eVN0YXRlIjp7IiRpZCI6IjEwMjAiLCJEYXRlUGFydElzVmlzaWJsZSI6dHJ1ZSwiVGltZVBhcnRJc1Zpc2libGUiOmZhbHNlfX0sIldlZWtOdW1iZXJpbmciOnsiJGlkIjoiMTAyMSIsIkZvcm1hdCI6MCwiSXNWaXNpYmxlIjpmYWxzZSwiTGFzdEtub3duVmlzaWJpbGl0eVN0YXRlIjpmYWxzZX0sIklzVmlzaWJsZSI6dHJ1ZSwiUGFyZW50U3R5bGUiOm51bGx9LCJJbmRleCI6MjgsIlBlcmNlbnRhZ2VDb21wbGV0ZSI6bnVsbCwiUG9zaXRpb24iOnsiUmF0aW8iOjAuMCwiSXNDdXN0b20iOmZhbHNlfSwiRGF0ZUZvcm1hdCI6eyIkcmVmIjoiMTAxOSJ9LCJXZWVrTnVtYmVyaW5nIjp7IiRpZCI6IjEwMjIiLCJGb3JtYXQiOjAsIklzVmlzaWJsZSI6ZmFsc2UsIkxhc3RLbm93blZpc2liaWxpdHlTdGF0ZSI6ZmFsc2V9LCJSZWxhdGVkVGFza0lkIjoiZGI4NDFiMmQtYzBiNS00MzRlLTgzMDAtOGNkNGQ0ZTU0MGJjIiwiSWQiOiJjZGVjMDQ5MC0zOWQwLTQ4MzgtYmExMy1hNjE3ZmM5Y2RlY2QiLCJJbXBvcnRJZCI6bnVsbCwiVGl0bGUiOiJTdGFnaW5nIiwiTm90ZSI6bnVsbCwiSHlwZXJsaW5rIjp7IiRpZCI6IjEwMjMiLCJBZGRyZXNzIjoiIiwiU3ViQWRkcmVzcyI6IiJ9LCJJc0NoYW5nZWQiOmZhbHNlLCJJc05ldyI6ZmFsc2V9LHsiJGlkIjoiMTAyNCIsIkRhdGUiOiIyMDIyLTEyLTIwVDIzOjU5OjAwIiwiU3R5bGUiOnsiJGlkIjoiMTAyNSIsIlNoYXBlIjoxNCwiQ29ubmVjdG9yTWFyZ2luIjp7IiRpZCI6IjEwMjYiLCJUb3AiOjAuMCwiTGVmdCI6Mi4wLCJSaWdodCI6Mi4wLCJCb3R0b20iOjAuMH0sIkNvbm5lY3RvclN0eWxlIjp7IiRpZCI6IjEwMjciLCJMaW5lQ29sb3IiOnsiJGlkIjoiMTAyOCIsIiR0eXBlIjoiTkxSRS5Db21tb24uRG9tLlNvbGlkQ29sb3JCcnVzaCwgTkxSRS5Db21tb24iLCJDb2xvciI6eyIkaWQiOiIxMDI5IiwiQSI6MTI3LCJSIjo1NiwiRyI6ODcsIkIiOjM1fX0sIkxpbmVXZWlnaHQiOjEuMCwiTGluZVR5cGUiOjAsIlBhcmVudFN0eWxlIjpudWxsfSwiSXNCZWxvd1RpbWViYW5kIjp0cnVlLCJQb3NpdGlvbk9uVGFzayI6MywiSGlkZURhdGUiOmZhbHNlLCJTaGFwZVNpemUiOjEsIlNwYWNpbmciOjEuMCwiUGFkZGluZyI6eyIkcmVmIjoiMTIifSwiU2hhcGVTdHlsZSI6eyIkaWQiOiIxMDMwIiwiTWFyZ2luIjp7IiRyZWYiOiI4NDMifSwiUGFkZGluZyI6eyIkcmVmIjoiODQ0In0sIkJhY2tncm91bmQiOnsiJGlkIjoiMTAzMSIsIkNvbG9yIjp7IiRpZCI6IjEwMzIiLCJBIjoyNTUsIlIiOjU2LCJHIjo4NywiQiI6MzV9fSwiSXNWaXNpYmxlIjp0cnVlLCJXaWR0aCI6MTguMCwiSGVpZ2h0IjoyMC4wLCJCb3JkZXJTdHlsZSI6eyIkaWQiOiIxMDMzIiwiTGluZUNvbG9yIjpudWxsLCJMaW5lV2VpZ2h0IjowLjAsIkxpbmVUeXBlIjowLCJQYXJlbnRTdHlsZSI6bnVsbH0sIlBhcmVudFN0eWxlIjpudWxsfSwiVGl0bGVTdHlsZSI6eyIkaWQiOiIxMDM0IiwiRm9udFNldHRpbmdzIjp7IiRpZCI6IjEwMzUiLCJGb250U2l6ZSI6MTEsIkZvbnROYW1lIjoiQ2FsaWJyaSIsIklzQm9sZCI6dHJ1ZSwiSXNJdGFsaWMiOmZhbHNlLCJJc1VuZGVybGluZWQiOmZhbHNlLCJQYXJlbnRTdHlsZSI6bnVsbH0sIkF1dG9TaXplIjowLCJGb3JlZ3JvdW5kIjp7IiRpZCI6IjEwMzYiLCJDb2xvciI6eyIkaWQiOiIxMDM3IiwiQSI6MjU1LCJSIjowLCJHIjowLCJCIjowfX0sIk1heFdpZHRoIjoyMDAuMCwiTWF4SGVpZ2h0IjoiSW5maW5pdHkiLCJTbWFydEZvcmVncm91bmRJc0FjdGl2ZSI6ZmFsc2UsIkhvcml6b250YWxBbGlnbm1lbnQiOjEsIlZlcnRpY2FsQWxpZ25tZW50IjowLCJTbWFydEZvcmVncm91bmQiOm51bGwsIkJhY2tncm91bmRGaWxsVHlwZSI6MCwiTWFyZ2luIjp7IiRyZWYiOiI4NTIifSwiUGFkZGluZyI6eyIkcmVmIjoiODUzIn0sIkJhY2tncm91bmQiOnsiJGlkIjoiMTAzOCIsIkNvbG9yIjp7IiRpZCI6IjEwMzkiLCJBIjowLCJSIjoyNTUsIkciOjI1NSwiQiI6MjU1fX0sIklzVmlzaWJsZSI6dHJ1ZSwiV2lkdGgiOjAuMCwiSGVpZ2h0IjowLjAsIkJvcmRlclN0eWxlIjp7IiRpZCI6IjEwNDAiLCJMaW5lQ29sb3IiOm51bGwsIkxpbmVXZWlnaHQiOjAuMCwiTGluZVR5cGUiOjAsIlBhcmVudFN0eWxlIjpudWxsfSwiUGFyZW50U3R5bGUiOm51bGx9LCJEYXRlU3R5bGUiOnsiJGlkIjoiMTA0MSIsIkZvbnRTZXR0aW5ncyI6eyIkaWQiOiIxMDQyIiwiRm9udFNpemUiOjEwLCJGb250TmFtZSI6IkNhbGlicmkiLCJJc0JvbGQiOmZhbHNlLCJJc0l0YWxpYyI6ZmFsc2UsIklzVW5kZXJsaW5lZCI6ZmFsc2UsIlBhcmVudFN0eWxlIjpudWxsfSwiQXV0b1NpemUiOjAsIkZvcmVncm91bmQiOnsiJGlkIjoiMTA0MyIsIkNvbG9yIjp7IiRpZCI6IjEwNDQ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4NjEifSwiUGFkZGluZyI6eyIkcmVmIjoiODYyIn0sIkJhY2tncm91bmQiOnsiJGlkIjoiMTA0NSIsIkNvbG9yIjp7IiRpZCI6IjEwNDYiLCJBIjowLCJSIjoyNTUsIkciOjI1NSwiQiI6MjU1fX0sIklzVmlzaWJsZSI6dHJ1ZSwiV2lkdGgiOjAuMCwiSGVpZ2h0IjowLjAsIkJvcmRlclN0eWxlIjp7IiRpZCI6IjEwNDciLCJMaW5lQ29sb3IiOm51bGwsIkxpbmVXZWlnaHQiOjAuMCwiTGluZVR5cGUiOjAsIlBhcmVudFN0eWxlIjpudWxsfSwiUGFyZW50U3R5bGUiOm51bGx9LCJEYXRlRm9ybWF0Ijp7IiRpZCI6IjEwNDgiLCJGb3JtYXRTdHJpbmciOiJNTU0gZCIsIlNlcGFyYXRvciI6Ii8iLCJVc2VJbnRlcm5hdGlvbmFsRGF0ZUZvcm1hdCI6ZmFsc2UsIkRhdGVJc1Zpc2libGUiOnRydWUsIlRpbWVJc1Zpc2libGUiOmZhbHNlLCJIb3VyRGlnaXRzIjoxLCJBbVBtRGVzaWduYXRvciI6MiwiVHJpbTAwTWludXRlcyI6ZmFsc2UsIkxhc3RLbm93blZpc2liaWxpdHlTdGF0ZSI6eyIkaWQiOiIxMDQ5IiwiRGF0ZVBhcnRJc1Zpc2libGUiOnRydWUsIlRpbWVQYXJ0SXNWaXNpYmxlIjpmYWxzZX19LCJXZWVrTnVtYmVyaW5nIjp7IiRpZCI6IjEwNTAiLCJGb3JtYXQiOjAsIklzVmlzaWJsZSI6ZmFsc2UsIkxhc3RLbm93blZpc2liaWxpdHlTdGF0ZSI6ZmFsc2V9LCJJc1Zpc2libGUiOnRydWUsIlBhcmVudFN0eWxlIjpudWxsfSwiSW5kZXgiOjI5LCJQZXJjZW50YWdlQ29tcGxldGUiOm51bGwsIlBvc2l0aW9uIjp7IlJhdGlvIjowLjAsIklzQ3VzdG9tIjpmYWxzZX0sIkRhdGVGb3JtYXQiOnsiJHJlZiI6IjEwNDgifSwiV2Vla051bWJlcmluZyI6eyIkaWQiOiIxMDUxIiwiRm9ybWF0IjowLCJJc1Zpc2libGUiOmZhbHNlLCJMYXN0S25vd25WaXNpYmlsaXR5U3RhdGUiOmZhbHNlfSwiUmVsYXRlZFRhc2tJZCI6ImRiODQxYjJkLWMwYjUtNDM0ZS04MzAwLThjZDRkNGU1NDBiYyIsIklkIjoiZWY1OTRkZTMtYmYwOS00ZjFjLWI5M2YtOWU3ZDEyZWU0NjliIiwiSW1wb3J0SWQiOm51bGwsIlRpdGxlIjoiR28gTGl2ZSEiLCJOb3RlIjpudWxsLCJIeXBlcmxpbmsiOnsiJGlkIjoiMTA1MiIsIkFkZHJlc3MiOiIiLCJTdWJBZGRyZXNzIjoiIn0sIklzQ2hhbmdlZCI6ZmFsc2UsIklzTmV3IjpmYWxzZX1dLCJUYXNrRGVmaW5pdGlvbiI6eyIkaWQiOiIxMDUzIiwiR3JvdXBOYW1lIjoiMmRkODA1NzYtZTNkMy00ZmJkLWFmNGQtNWVmY2JiMjE0MzIxIiwiU3RhcnREYXRlIjoiMjAyMi0xMC0yMVQwMTo1NTowMFoiLCJFbmREYXRlIjoiMjAyMi0xMi0yNVQwMzo0NDowMFoiLCJQZXJjZW50YWdlQ29tcGxldGUiOm51bGwsIlN0eWxlIjp7IiRpZCI6IjEwNTQiLCJTaGFwZSI6NywiU2hhcGVUaGlja25lc3MiOjAsIkR1cmF0aW9uRm9ybWF0IjowLCJJbmNsdWRlTm9uV29ya2luZ0RheXNJbkR1cmF0aW9uIjpmYWxzZSwiUGVyY2VudGFnZUNvbXBsZXRlU3R5bGUiOnsiJGlkIjoiMTA1NSIsIkZvbnRTZXR0aW5ncyI6eyIkaWQiOiIxMDU2IiwiRm9udFNpemUiOjEwLCJGb250TmFtZSI6IkNhbGlicmkiLCJJc0JvbGQiOmZhbHNlLCJJc0l0YWxpYyI6ZmFsc2UsIklzVW5kZXJsaW5lZCI6ZmFsc2UsIlBhcmVudFN0eWxlIjpudWxsfSwiQXV0b1NpemUiOjAsIkZvcmVncm91bmQiOnsiJHJlZiI6IjE0OCJ9LCJNYXhXaWR0aCI6MjAwLjAsIk1heEhlaWdodCI6IkluZmluaXR5IiwiU21hcnRGb3JlZ3JvdW5kSXNBY3RpdmUiOmZhbHNlLCJIb3Jpem9udGFsQWxpZ25tZW50IjowLCJWZXJ0aWNhbEFsaWdubWVudCI6MCwiU21hcnRGb3JlZ3JvdW5kIjpudWxsLCJCYWNrZ3JvdW5kRmlsbFR5cGUiOjAsIk1hcmdpbiI6eyIkcmVmIjoiNzk0In0sIlBhZGRpbmciOnsiJHJlZiI6Ijc5NSJ9LCJCYWNrZ3JvdW5kIjp7IiRyZWYiOiIxNTIifSwiSXNWaXNpYmxlIjp0cnVlLCJXaWR0aCI6MC4wLCJIZWlnaHQiOjAuMCwiQm9yZGVyU3R5bGUiOnsiJGlkIjoiMTA1NyIsIkxpbmVDb2xvciI6bnVsbCwiTGluZVdlaWdodCI6MC4wLCJMaW5lVHlwZSI6MCwiUGFyZW50U3R5bGUiOm51bGx9LCJQYXJlbnRTdHlsZSI6bnVsbH0sIkR1cmF0aW9uU3R5bGUiOnsiJGlkIjoiMTA1OCIsIkZvbnRTZXR0aW5ncyI6eyIkaWQiOiIxMDU5IiwiRm9udFNpemUiOjEwLCJGb250TmFtZSI6IkNhbGlicmkiLCJJc0JvbGQiOmZhbHNlLCJJc0l0YWxpYyI6ZmFsc2UsIklzVW5kZXJsaW5lZCI6ZmFsc2UsIlBhcmVudFN0eWxlIjpudWxsfSwiQXV0b1NpemUiOjAsIkZvcmVncm91bmQiOnsiJHJlZiI6IjE1NyJ9LCJNYXhXaWR0aCI6MjAwLjAsIk1heEhlaWdodCI6IkluZmluaXR5IiwiU21hcnRGb3JlZ3JvdW5kSXNBY3RpdmUiOmZhbHNlLCJIb3Jpem9udGFsQWxpZ25tZW50IjowLCJWZXJ0aWNhbEFsaWdubWVudCI6MCwiU21hcnRGb3JlZ3JvdW5kIjpudWxsLCJCYWNrZ3JvdW5kRmlsbFR5cGUiOjAsIk1hcmdpbiI6eyIkcmVmIjoiODAyIn0sIlBhZGRpbmciOnsiJHJlZiI6IjgwMyJ9LCJCYWNrZ3JvdW5kIjp7IiRyZWYiOiIxNjEifSwiSXNWaXNpYmxlIjp0cnVlLCJXaWR0aCI6MC4wLCJIZWlnaHQiOjAuMCwiQm9yZGVyU3R5bGUiOnsiJGlkIjoiMTA2MCIsIkxpbmVDb2xvciI6bnVsbCwiTGluZVdlaWdodCI6MC4wLCJMaW5lVHlwZSI6MCwiUGFyZW50U3R5bGUiOm51bGx9LCJQYXJlbnRTdHlsZSI6bnVsbH0sIkhvcml6b250YWxDb25uZWN0b3JTdHlsZSI6eyIkaWQiOiIxMDYxIiwiTGluZUNvbG9yIjp7IiRyZWYiOiIxNjQifSwiTGluZVdlaWdodCI6MS4wLCJMaW5lVHlwZSI6MCwiUGFyZW50U3R5bGUiOm51bGx9LCJWZXJ0aWNhbENvbm5lY3RvclN0eWxlIjp7IiRpZCI6IjEwNjIiLCJMaW5lQ29sb3IiOnsiJHJlZiI6IjE2NyJ9LCJMaW5lV2VpZ2h0IjowLjAsIkxpbmVUeXBlIjowLCJQYXJlbnRTdHlsZSI6bnVsbH0sIk1hcmdpbiI6bnVsbCwiU3RhcnREYXRlUG9zaXRpb24iOjYsIkVuZERhdGVQb3NpdGlvbiI6NiwiRGF0ZUlzVmlzaWJsZSI6ZmFsc2UsIlRpdGxlUG9zaXRpb24iOjEsIkR1cmF0aW9uUG9zaXRpb24iOjYsIlBlcmNlbnRhZ2VDb21wbGV0ZWRQb3NpdGlvbiI6NiwiU3BhY2luZyI6MywiSXNCZWxvd1RpbWViYW5kIjp0cnVlLCJQZXJjZW50YWdlQ29tcGxldGVTaGFwZU9wYWNpdHkiOjM1LCJTaGFwZVN0eWxlIjp7IiRpZCI6IjEwNjMiLCJNYXJnaW4iOnsiJHJlZiI6IjgxMCJ9LCJQYWRkaW5nIjp7IiRyZWYiOiI4MTEifSwiQmFja2dyb3VuZCI6eyIkaWQiOiIxMDY0IiwiQ29sb3IiOnsiJGlkIjoiMTA2NSIsIkEiOjI1NSwiUiI6MTEyLCJHIjoxNzMsIkIiOjcxfX0sIklzVmlzaWJsZSI6dHJ1ZSwiV2lkdGgiOjAuMCwiSGVpZ2h0IjoxMC4wLCJCb3JkZXJTdHlsZSI6eyIkaWQiOiIxMDY2IiwiTGluZUNvbG9yIjp7IiRyZWYiOiIxNzUifSwiTGluZVdlaWdodCI6MC4wLCJMaW5lVHlwZSI6MCwiUGFyZW50U3R5bGUiOm51bGx9LCJQYXJlbnRTdHlsZSI6bnVsbH0sIlRpdGxlU3R5bGUiOnsiJGlkIjoiMTA2NyIsIkZvbnRTZXR0aW5ncyI6eyIkaWQiOiIxMDY4IiwiRm9udFNpemUiOjExLCJGb250TmFtZSI6IkNhbGlicmkiLCJJc0JvbGQiOnRydWUsIklzSXRhbGljIjpmYWxzZSwiSXNVbmRlcmxpbmVkIjpmYWxzZSwiUGFyZW50U3R5bGUiOm51bGx9LCJBdXRvU2l6ZSI6MiwiRm9yZWdyb3VuZCI6eyIkaWQiOiIxMDY5IiwiQ29sb3IiOnsiJGlkIjoiMTA3MCIsIkEiOjI1NSwiUiI6MCwiRyI6MCwiQiI6MH19LCJNYXhXaWR0aCI6NzAuNzcwMDAwMDAwMDAwMDEsIk1heEhlaWdodCI6IkluZmluaXR5IiwiU21hcnRGb3JlZ3JvdW5kSXNBY3RpdmUiOmZhbHNlLCJIb3Jpem9udGFsQWxpZ25tZW50IjowLCJWZXJ0aWNhbEFsaWdubWVudCI6MCwiU21hcnRGb3JlZ3JvdW5kIjpudWxsLCJCYWNrZ3JvdW5kRmlsbFR5cGUiOjAsIk1hcmdpbiI6eyIkcmVmIjoiODIxIn0sIlBhZGRpbmciOnsiJHJlZiI6IjgyMiJ9LCJCYWNrZ3JvdW5kIjp7IiRpZCI6IjEwNzEiLCJDb2xvciI6eyIkaWQiOiIxMDcyIiwiQSI6MCwiUiI6MjU1LCJHIjoyNTUsIkIiOjI1NX19LCJJc1Zpc2libGUiOnRydWUsIldpZHRoIjowLjAsIkhlaWdodCI6MC4wLCJCb3JkZXJTdHlsZSI6eyIkaWQiOiIxMDczIiwiTGluZUNvbG9yIjpudWxsLCJMaW5lV2VpZ2h0IjowLjAsIkxpbmVUeXBlIjowLCJQYXJlbnRTdHlsZSI6bnVsbH0sIlBhcmVudFN0eWxlIjpudWxsfSwiRGF0ZVN0eWxlIjp7IiRpZCI6IjEwNzQiLCJGb250U2V0dGluZ3MiOnsiJGlkIjoiMTA3NSIsIkZvbnRTaXplIjoxMCwiRm9udE5hbWUiOiJDYWxpYnJpIiwiSXNCb2xkIjpmYWxzZSwiSXNJdGFsaWMiOmZhbHNlLCJJc1VuZGVybGluZWQiOmZhbHNlLCJQYXJlbnRTdHlsZSI6bnVsbH0sIkF1dG9TaXplIjowLCJGb3JlZ3JvdW5kIjp7IiRyZWYiOiI4NiJ9LCJNYXhXaWR0aCI6MjAwLjAsIk1heEhlaWdodCI6IkluZmluaXR5IiwiU21hcnRGb3JlZ3JvdW5kSXNBY3RpdmUiOmZhbHNlLCJIb3Jpem9udGFsQWxpZ25tZW50IjoyLCJWZXJ0aWNhbEFsaWdubWVudCI6MCwiU21hcnRGb3JlZ3JvdW5kIjpudWxsLCJCYWNrZ3JvdW5kRmlsbFR5cGUiOjAsIk1hcmdpbiI6eyIkcmVmIjoiODI4In0sIlBhZGRpbmciOnsiJHJlZiI6IjgyOSJ9LCJCYWNrZ3JvdW5kIjp7IiRyZWYiOiIxOTAifSwiSXNWaXNpYmxlIjp0cnVlLCJXaWR0aCI6MC4wLCJIZWlnaHQiOjAuMCwiQm9yZGVyU3R5bGUiOnsiJGlkIjoiMTA3NiIsIkxpbmVDb2xvciI6bnVsbCwiTGluZVdlaWdodCI6MC4wLCJMaW5lVHlwZSI6MCwiUGFyZW50U3R5bGUiOm51bGx9LCJQYXJlbnRTdHlsZSI6bnVsbH0sIkRhdGVGb3JtYXQiOnsiJGlkIjoiMTA3Ny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xMDc4IiwiRm9ybWF0IjowLCJJc1Zpc2libGUiOmZhbHNlLCJMYXN0S25vd25WaXNpYmlsaXR5U3RhdGUiOmZhbHNlfSwiSXNWaXNpYmxlIjp0cnVlLCJQYXJlbnRTdHlsZSI6bnVsbH0sIkluZGV4IjoyNywiU21hcnREdXJhdGlvbkFjdGl2YXRlZCI6ZmFsc2UsIkRhdGVGb3JtYXQiOnsiJHJlZiI6IjEwNzcifSwiV2Vla051bWJlcmluZyI6eyIkaWQiOiIxMDc5IiwiRm9ybWF0IjowLCJJc1Zpc2libGUiOmZhbHNlLCJMYXN0S25vd25WaXNpYmlsaXR5U3RhdGUiOmZhbHNlfSwiSWQiOiJkYjg0MWIyZC1jMGI1LTQzNGUtODMwMC04Y2Q0ZDRlNTQwYmMiLCJJbXBvcnRJZCI6bnVsbCwiVGl0bGUiOiJSZWxlYXNlIHRvIFdlYiIsIk5vdGUiOm51bGwsIkh5cGVybGluayI6eyIkaWQiOiIxMDgwIiwiQWRkcmVzcyI6IiIsIlN1YkFkZHJlc3MiOiIifSwiSXNDaGFuZ2VkIjpmYWxzZSwiSXNOZXciOmZhbHNlfX1dLCJfbWlsZXN0b25lcyI6W10sIklkIjoiMmRkODA1NzYtZTNkMy00ZmJkLWFmNGQtNWVmY2JiMjE0MzIxIiwiSXNTaW5nbGVJdGVtUm93IjpmYWxzZX1dLCJJbmRleCI6MCwiSWQiOiJmNThkZDY2NS1lZWU5LTQxODgtYWNmZC1lMGQzYzgyZDcxYTkiLCJIZWFkZXJUZXh0IjpudWxsLCJJc0RlZmF1bHQiOnRydWUsIlN0eWxlIjp7IiRpZCI6IjEwODEiLCJIZWFkZXJTdHlsZSI6eyIkaWQiOiIxMDgyIiwiVGV4dFN0eWxlIjp7IiRpZCI6IjEwODMiLCJGb250U2V0dGluZ3MiOnsiJGlkIjoiMTA4NCIsIkZvbnRTaXplIjoxMSwiRm9udE5hbWUiOiJDYWxpYnJpIiwiSXNCb2xkIjpmYWxzZSwiSXNJdGFsaWMiOmZhbHNlLCJJc1VuZGVybGluZWQiOmZhbHNlLCJQYXJlbnRTdHlsZSI6bnVsbH0sIkF1dG9TaXplIjoyLCJGb3JlZ3JvdW5kIjp7IiRpZCI6IjEwODUiLCJDb2xvciI6eyIkaWQiOiIxMDg2IiwiQSI6MjU1LCJSIjowLCJHIjowLCJCIjowfX0sIk1heFdpZHRoIjowLjAsIk1heEhlaWdodCI6IkluZmluaXR5IiwiU21hcnRGb3JlZ3JvdW5kSXNBY3RpdmUiOmZhbHNlLCJIb3Jpem9udGFsQWxpZ25tZW50IjowLCJWZXJ0aWNhbEFsaWdubWVudCI6MCwiU21hcnRGb3JlZ3JvdW5kIjpudWxsLCJCYWNrZ3JvdW5kRmlsbFR5cGUiOjAsIk1hcmdpbiI6eyIkaWQiOiIxMDg3IiwiVG9wIjowLjAsIkxlZnQiOjAuMCwiUmlnaHQiOjAuMCwiQm90dG9tIjowLjB9LCJQYWRkaW5nIjp7IiRpZCI6IjEwODgiLCJUb3AiOjAuMCwiTGVmdCI6MC4wLCJSaWdodCI6MC4wLCJCb3R0b20iOjAuMH0sIkJhY2tncm91bmQiOm51bGwsIklzVmlzaWJsZSI6dHJ1ZSwiV2lkdGgiOjAuMCwiSGVpZ2h0IjowLjAsIkJvcmRlclN0eWxlIjpudWxsLCJQYXJlbnRTdHlsZSI6bnVsbH0sIlJlY3RhbmdsZVN0eWxlIjp7IiRpZCI6IjEwODkiLCJNYXJnaW4iOnsiJGlkIjoiMTA5MCIsIlRvcCI6MC4wLCJMZWZ0IjowLjAsIlJpZ2h0IjowLjAsIkJvdHRvbSI6MC4wfSwiUGFkZGluZyI6eyIkaWQiOiIxMDkxIiwiVG9wIjowLjAsIkxlZnQiOjAuMCwiUmlnaHQiOjAuMCwiQm90dG9tIjowLjB9LCJCYWNrZ3JvdW5kIjp7IiRpZCI6IjEwOTIiLCJDb2xvciI6eyIkaWQiOiIxMDkzIiwiQSI6NjMsIlIiOjExMiwiRyI6MTczLCJCIjo3MX19LCJJc1Zpc2libGUiOnRydWUsIldpZHRoIjowLjAsIkhlaWdodCI6MC4wLCJCb3JkZXJTdHlsZSI6eyIkaWQiOiIxMDk0IiwiTGluZUNvbG9yIjp7IiRpZCI6IjEwOTUiLCIkdHlwZSI6Ik5MUkUuQ29tbW9uLkRvbS5Tb2xpZENvbG9yQnJ1c2gsIE5MUkUuQ29tbW9uIiwiQ29sb3IiOnsiJGlkIjoiMTA5NiIsIkEiOjI1NSwiUiI6MjU1LCJHIjowLCJCIjowfX0sIkxpbmVXZWlnaHQiOjAuMCwiTGluZVR5cGUiOjAsIlBhcmVudFN0eWxlIjpudWxsfSwiUGFyZW50U3R5bGUiOm51bGx9LCJNYXJnaW4iOnsiJGlkIjoiMTA5NyIsIlRvcCI6MC4wLCJMZWZ0IjowLjAsIlJpZ2h0IjowLjAsIkJvdHRvbSI6MC4wfSwiUGFkZGluZyI6eyIkaWQiOiIxMDk4IiwiVG9wIjowLjAsIkxlZnQiOjAuMCwiUmlnaHQiOjAuMCwiQm90dG9tIjowLjB9LCJCYWNrZ3JvdW5kIjpudWxsLCJJc1Zpc2libGUiOnRydWUsIldpZHRoIjowLjAsIkhlaWdodCI6MC4wLCJCb3JkZXJTdHlsZSI6bnVsbCwiUGFyZW50U3R5bGUiOm51bGx9LCJCYWNrZ3JvdW5kU3R5bGUiOnsiJGlkIjoiMTA5OSIsIk1hcmdpbiI6eyIkaWQiOiIxMTAwIiwiVG9wIjowLjAsIkxlZnQiOjAuMCwiUmlnaHQiOjAuMCwiQm90dG9tIjowLjB9LCJQYWRkaW5nIjp7IiRpZCI6IjExMDEiLCJUb3AiOjAuMCwiTGVmdCI6MC4wLCJSaWdodCI6MC4wLCJCb3R0b20iOjAuMH0sIkJhY2tncm91bmQiOnsiJGlkIjoiMTEwMiIsIkNvbG9yIjp7IiRpZCI6IjExMDMiLCJBIjo1MSwiUiI6MTY1LCJHIjoxNjUsIkIiOjE2NX19LCJJc1Zpc2libGUiOnRydWUsIldpZHRoIjowLjAsIkhlaWdodCI6MC4wLCJCb3JkZXJTdHlsZSI6eyIkaWQiOiIxMTA0IiwiTGluZUNvbG9yIjp7IiRpZCI6IjExMDUiLCIkdHlwZSI6Ik5MUkUuQ29tbW9uLkRvbS5Tb2xpZENvbG9yQnJ1c2gsIE5MUkUuQ29tbW9uIiwiQ29sb3IiOnsiJGlkIjoiMTEwNiIsIkEiOjI1NSwiUiI6MjU1LCJHIjowLCJCIjowfX0sIkxpbmVXZWlnaHQiOjAuMCwiTGluZVR5cGUiOjAsIlBhcmVudFN0eWxlIjpudWxsfSwiUGFyZW50U3R5bGUiOm51bGx9LCJNYXJnaW4iOnsiJGlkIjoiMTEwNyIsIlRvcCI6MC4wLCJMZWZ0IjowLjAsIlJpZ2h0IjowLjAsIkJvdHRvbSI6MC4wfSwiUGFkZGluZyI6eyIkaWQiOiIxMTA4IiwiVG9wIjowLjAsIkxlZnQiOjAuMCwiUmlnaHQiOjAuMCwiQm90dG9tIjowLjB9LCJJc1Zpc2libGUiOmZhbHNlLCJXaWR0aCI6MC4wLCJIZWlnaHQiOjAuMCwiQm9yZGVyU3R5bGUiOm51bGwsIlBhcmVudFN0eWxlIjpudWxsfX1dLCJJZCI6ImZmZWUxZTc5LWI4NTktNDNhMi04YzM5LTQ1NGVhODgwZmRhOCIsIkluZGV4IjoyLCJIZWFkZXJUZXh0IjoiU2VydmljZSBEZXZlbG9wbWVudCIsIlN0eWxlIjp7IiRpZCI6IjExMDkiLCJIZWFkZXJTdHlsZSI6eyIkaWQiOiIxMTEwIiwiVGV4dElzVmVydGljYWwiOmZhbHNlLCJUZXh0U3R5bGUiOnsiJGlkIjoiMTExMSIsIkZvbnRTZXR0aW5ncyI6eyIkaWQiOiIxMTEyIiwiRm9udFNpemUiOjEyLCJGb250TmFtZSI6IkNhbGlicmkiLCJJc0JvbGQiOnRydWUsIklzSXRhbGljIjpmYWxzZSwiSXNVbmRlcmxpbmVkIjpmYWxzZSwiUGFyZW50U3R5bGUiOm51bGx9LCJBdXRvU2l6ZSI6MCwiRm9yZWdyb3VuZCI6eyIkaWQiOiIxMTEzIiwiQ29sb3IiOnsiJGlkIjoiMTExNCIsIkEiOjI1NSwiUiI6MjU1LCJHIjoyNTUsIkIiOjI1NX19LCJNYXhXaWR0aCI6MC4wLCJNYXhIZWlnaHQiOjAuMCwiU21hcnRGb3JlZ3JvdW5kSXNBY3RpdmUiOmZhbHNlLCJIb3Jpem9udGFsQWxpZ25tZW50IjowLCJWZXJ0aWNhbEFsaWdubWVudCI6MCwiU21hcnRGb3JlZ3JvdW5kIjpudWxsLCJCYWNrZ3JvdW5kRmlsbFR5cGUiOjAsIk1hcmdpbiI6eyIkaWQiOiIxMTE1IiwiVG9wIjowLjAsIkxlZnQiOjAuMCwiUmlnaHQiOjAuMCwiQm90dG9tIjowLjB9LCJQYWRkaW5nIjp7IiRpZCI6IjExMTYiLCJUb3AiOjAuMCwiTGVmdCI6MC4wLCJSaWdodCI6MC4wLCJCb3R0b20iOjAuMH0sIkJhY2tncm91bmQiOm51bGwsIklzVmlzaWJsZSI6ZmFsc2UsIldpZHRoIjowLjAsIkhlaWdodCI6MC4wLCJCb3JkZXJTdHlsZSI6bnVsbCwiUGFyZW50U3R5bGUiOm51bGx9LCJSZWN0YW5nbGVTdHlsZSI6eyIkaWQiOiIxMTE3IiwiTWFyZ2luIjp7IiRpZCI6IjExMTgiLCJUb3AiOjAuMCwiTGVmdCI6MC4wLCJSaWdodCI6MC4wLCJCb3R0b20iOjAuMH0sIlBhZGRpbmciOnsiJGlkIjoiMTExOSIsIlRvcCI6MC4wLCJMZWZ0IjowLjAsIlJpZ2h0IjowLjAsIkJvdHRvbSI6MC4wfSwiQmFja2dyb3VuZCI6eyIkaWQiOiIxMTIwIiwiQ29sb3IiOnsiJGlkIjoiMTEyMSIsIkEiOjI1NSwiUiI6MTEyLCJHIjoxNzMsIkIiOjcxfX0sIklzVmlzaWJsZSI6ZmFsc2UsIldpZHRoIjowLjAsIkhlaWdodCI6MC4wLCJCb3JkZXJTdHlsZSI6eyIkaWQiOiIxMTIyIiwiTGluZUNvbG9yIjp7IiRpZCI6IjExMjMiLCIkdHlwZSI6Ik5MUkUuQ29tbW9uLkRvbS5Tb2xpZENvbG9yQnJ1c2gsIE5MUkUuQ29tbW9uIiwiQ29sb3IiOnsiJGlkIjoiMTEyNCIsIkEiOjI1NSwiUiI6NTUsIkciOjU1LCJCIjo1NX19LCJMaW5lV2VpZ2h0IjowLjAsIkxpbmVUeXBlIjowLCJQYXJlbnRTdHlsZSI6bnVsbH0sIlBhcmVudFN0eWxlIjpudWxsfSwiTWFyZ2luIjp7IiRpZCI6IjExMjUiLCJUb3AiOjAuMCwiTGVmdCI6MC4wLCJSaWdodCI6MC4wLCJCb3R0b20iOjAuMH0sIlBhZGRpbmciOnsiJGlkIjoiMTEyNiIsIlRvcCI6MC4wLCJMZWZ0IjowLjAsIlJpZ2h0IjowLjAsIkJvdHRvbSI6MC4wfSwiQmFja2dyb3VuZCI6bnVsbCwiSXNWaXNpYmxlIjp0cnVlLCJXaWR0aCI6MC4wLCJIZWlnaHQiOjAuMCwiQm9yZGVyU3R5bGUiOm51bGwsIlBhcmVudFN0eWxlIjpudWxsfSwiQmFja2dyb3VuZFN0eWxlIjp7IiRpZCI6IjExMjciLCJNYXJnaW4iOnsiJGlkIjoiMTEyOCIsIlRvcCI6MC4wLCJMZWZ0IjowLjAsIlJpZ2h0IjowLjAsIkJvdHRvbSI6MC4wfSwiUGFkZGluZyI6eyIkaWQiOiIxMTI5IiwiVG9wIjowLjAsIkxlZnQiOjAuMCwiUmlnaHQiOjAuMCwiQm90dG9tIjowLjB9LCJCYWNrZ3JvdW5kIjp7IiRpZCI6IjExMzAiLCJDb2xvciI6eyIkaWQiOiIxMTMxIiwiQSI6MzgsIlIiOjExMiwiRyI6MTczLCJCIjo3MX19LCJJc1Zpc2libGUiOnRydWUsIldpZHRoIjowLjAsIkhlaWdodCI6MC4wLCJCb3JkZXJTdHlsZSI6eyIkaWQiOiIxMTMyIiwiTGluZUNvbG9yIjp7IiRpZCI6IjExMzMiLCIkdHlwZSI6Ik5MUkUuQ29tbW9uLkRvbS5Tb2xpZENvbG9yQnJ1c2gsIE5MUkUuQ29tbW9uIiwiQ29sb3IiOnsiJGlkIjoiMTEzNCIsIkEiOjI1NSwiUiI6NTUsIkciOjU1LCJCIjo1NX19LCJMaW5lV2VpZ2h0IjowLjAsIkxpbmVUeXBlIjowLCJQYXJlbnRTdHlsZSI6bnVsbH0sIlBhcmVudFN0eWxlIjpudWxsfSwiSXNBYm92ZVRpbWViYW5kIjpmYWxzZSwiTWFyZ2luIjp7IiRpZCI6IjExMzUiLCJUb3AiOjAuMCwiTGVmdCI6MC4wLCJSaWdodCI6MC4wLCJCb3R0b20iOjAuMH0sIlBhZGRpbmciOnsiJGlkIjoiMTEzNiIsIlRvcCI6MC4wLCJMZWZ0IjowLjAsIlJpZ2h0IjowLjAsIkJvdHRvbSI6MC4wfSwiSXNWaXNpYmxlIjp0cnVlLCJXaWR0aCI6MC4wLCJIZWlnaHQiOjAuMCwiQm9yZGVyU3R5bGUiOnsiJGlkIjoiMTEzNyIsIkxpbmVDb2xvciI6bnVsbCwiTGluZVdlaWdodCI6MC4wLCJMaW5lVHlwZSI6MCwiUGFyZW50U3R5bGUiOm51bGx9LCJQYXJlbnRTdHlsZSI6bnVsbH19LHsiJGlkIjoiMTEzOCIsIl9hY3Rpdml0aWVzIjpbeyIkaWQiOiIxMTM5IiwiX3Jvd3MiOlt7IiRpZCI6IjExNDAiLCJfdGFza3MiOltdLCJfbWlsZXN0b25lcyI6W3siJGlkIjoiMTE0MSIsIklkIjoiMjdlMGU5MGMtOGU2MS00NjBmLTg4ZGEtOTNhYjQwNGZjODVkIiwiSW5kZXgiOjMwLCJHcm91cElkIjoiOTM5OTMwZGQtYWQ5ZS00ZWYwLWI5NWEtNDI1MWZmNWQ3ZGQ1IiwiVGl0bGUiOiJTYWxlcyBEYXNoYm9hcmQiLCJEYXRlVGltZSI6IjIwMjItMTItMjBUMjM6NTk6MDAiLCJQZXJjZW50YWdlQ29tcGxldGUiOm51bGwsIk5vdGUiOm51bGwsIlN0eWxlIjp7IiRpZCI6IjExNDIiLCJUaXRsZVBvc2l0aW9uIjoiTGVmdCIsIkRhdGVQb3NpdGlvbiI6IkxlZnQiLCJTaGFwZVR5cGUiOjYsIlNoYXBlU2l6ZSI6MywiU2hhcGVTdHlsZSI6eyIkaWQiOiIxMTQzIiwiTWFyZ2luIjp7IiRyZWYiOiIyNzcifSwiUGFkZGluZyI6eyIkcmVmIjoiMjc4In0sIkJhY2tncm91bmQiOnsiJGlkIjoiMTE0NCIsIkNvbG9yIjp7IiRpZCI6IjExNDUiLCJBIjoyNTUsIlIiOjY4LCJHIjoxMTQsIkIiOjE5Nn19LCJJc1Zpc2libGUiOnRydWUsIldpZHRoIjoxNC42ODI1MTk5MTI3MTk3MjcsIkhlaWdodCI6MTYuMzEzOTM2MjMzNTIwNTA4LCJCb3JkZXJTdHlsZSI6eyIkaWQiOiIxMTQ2IiwiTGluZUNvbG9yIjpudWxsLCJMaW5lV2VpZ2h0IjowLjAsIkxpbmVUeXBlIjowLCJQYXJlbnRTdHlsZSI6bnVsbH0sIlBhcmVudFN0eWxlIjpudWxsfSwiVGl0bGVTdHlsZSI6eyIkaWQiOiIxMTQ3IiwiRm9udFNldHRpbmdzIjp7IiRpZCI6IjExNDgiLCJGb250U2l6ZSI6MTEsIkZvbnROYW1lIjoiQ2FsaWJyaSIsIklzQm9sZCI6dHJ1ZSwiSXNJdGFsaWMiOmZhbHNlLCJJc1VuZGVybGluZWQiOmZhbHNlLCJQYXJlbnRTdHlsZSI6bnVsbH0sIkF1dG9TaXplIjowLCJGb3JlZ3JvdW5kIjp7IiRpZCI6IjExNDkiLCJDb2xvciI6eyIkaWQiOiIxMTUwIiwiQSI6MjU1LCJSIjowLCJHIjowLCJCIjowfX0sIk1heFdpZHRoIjoyMDAuMCwiTWF4SGVpZ2h0IjoiSW5maW5pdHkiLCJTbWFydEZvcmVncm91bmRJc0FjdGl2ZSI6ZmFsc2UsIkhvcml6b250YWxBbGlnbm1lbnQiOjIsIlZlcnRpY2FsQWxpZ25tZW50IjowLCJTbWFydEZvcmVncm91bmQiOm51bGwsIkJhY2tncm91bmRGaWxsVHlwZSI6MCwiTWFyZ2luIjp7IiRyZWYiOiIyODYifSwiUGFkZGluZyI6eyIkcmVmIjoiMjg3In0sIkJhY2tncm91bmQiOnsiJGlkIjoiMTE1MSIsIkNvbG9yIjp7IiRpZCI6IjExNTIiLCJBIjowLCJSIjoyNTUsIkciOjI1NSwiQiI6MjU1fX0sIklzVmlzaWJsZSI6dHJ1ZSwiV2lkdGgiOjAuMCwiSGVpZ2h0IjowLjAsIkJvcmRlclN0eWxlIjpudWxsLCJQYXJlbnRTdHlsZSI6bnVsbH0sIkRhdGVTdHlsZSI6eyIkaWQiOiIxMTUzIiwiRm9udFNldHRpbmdzIjp7IiRpZCI6IjExNTQiLCJGb250U2l6ZSI6MTAsIkZvbnROYW1lIjoiQ2FsaWJyaSIsIklzQm9sZCI6ZmFsc2UsIklzSXRhbGljIjpmYWxzZSwiSXNVbmRlcmxpbmVkIjpmYWxzZSwiUGFyZW50U3R5bGUiOm51bGx9LCJBdXRvU2l6ZSI6MCwiRm9yZWdyb3VuZCI6eyIkaWQiOiIxMTU1IiwiQ29sb3IiOnsiJGlkIjoiMTE1NiIsIkEiOjI1NSwiUiI6NjgsIkciOjg0LCJCIjoxMDZ9fSwiTWF4V2lkdGgiOjIwMC4wLCJNYXhIZWlnaHQiOiJJbmZpbml0eSIsIlNtYXJ0Rm9yZWdyb3VuZElzQWN0aXZlIjpmYWxzZSwiSG9yaXpvbnRhbEFsaWdubWVudCI6MiwiVmVydGljYWxBbGlnbm1lbnQiOjAsIlNtYXJ0Rm9yZWdyb3VuZCI6bnVsbCwiQmFja2dyb3VuZEZpbGxUeXBlIjowLCJNYXJnaW4iOnsiJHJlZiI6IjI5NSJ9LCJQYWRkaW5nIjp7IiRyZWYiOiIyOTYifSwiQmFja2dyb3VuZCI6eyIkaWQiOiIxMTU3IiwiQ29sb3IiOnsiJGlkIjoiMTE1OCIsIkEiOjAsIlIiOjI1NSwiRyI6MjU1LCJCIjoyNTV9fSwiSXNWaXNpYmxlIjpmYWxzZSwiV2lkdGgiOjAuMCwiSGVpZ2h0IjowLjAsIkJvcmRlclN0eWxlIjpudWxsLCJQYXJlbnRTdHlsZSI6bnVsbH0sIkRhdGVGb3JtYXQiOnsiJHJlZiI6IjMwMCJ9LCJXZWVrTnVtYmVyaW5nIjp7IiRpZCI6IjExNTkiLCJGb3JtYXQiOjAsIklzVmlzaWJsZSI6ZmFsc2UsIkxhc3RLbm93blZpc2liaWxpdHlTdGF0ZSI6ZmFsc2V9LCJJc1Zpc2libGUiOnRydWUsIlBhcmVudFN0eWxlIjpudWxsfSwiSHlwZXJsaW5rIjp7IiRpZCI6IjExNjAiLCJBZGRyZXNzIjoiIiwiU3ViQWRkcmVzcyI6IiJ9LCJJbXBvcnRJZCI6bnVsbH0seyIkaWQiOiIxMTYxIiwiSWQiOiIwNWY1ZTIyYi0wNzEwLTQyYTEtYTFkYy01OTYxNWJiNGM0NjkiLCJJbmRleCI6MzEsIkdyb3VwSWQiOiI5Mzk5MzBkZC1hZDllLTRlZjAtYjk1YS00MjUxZmY1ZDdkZDUiLCJUaXRsZSI6IlNlcnZpY2UgTWV0cmljcyIsIkRhdGVUaW1lIjoiMjAyMi0wNC0wMVQwMDowMDowMCIsIlBlcmNlbnRhZ2VDb21wbGV0ZSI6bnVsbCwiTm90ZSI6bnVsbCwiU3R5bGUiOnsiJGlkIjoiMTE2MiIsIlRpdGxlUG9zaXRpb24iOiJMZWZ0IiwiRGF0ZVBvc2l0aW9uIjoiTGVmdCIsIlNoYXBlVHlwZSI6NiwiU2hhcGVTaXplIjozLCJTaGFwZVN0eWxlIjp7IiRpZCI6IjExNjMiLCJNYXJnaW4iOnsiJHJlZiI6IjI3NyJ9LCJQYWRkaW5nIjp7IiRyZWYiOiIyNzgifSwiQmFja2dyb3VuZCI6eyIkaWQiOiIxMTY0IiwiQ29sb3IiOnsiJGlkIjoiMTE2NSIsIkEiOjI1NSwiUiI6NjgsIkciOjExNCwiQiI6MTk2fX0sIklzVmlzaWJsZSI6dHJ1ZSwiV2lkdGgiOjE0LjY4MjUxOTkxMjcxOTcyNywiSGVpZ2h0IjoxNi4zMTM5MzYyMzM1MjA1MDgsIkJvcmRlclN0eWxlIjp7IiRpZCI6IjExNjYiLCJMaW5lQ29sb3IiOm51bGwsIkxpbmVXZWlnaHQiOjAuMCwiTGluZVR5cGUiOjAsIlBhcmVudFN0eWxlIjpudWxsfSwiUGFyZW50U3R5bGUiOm51bGx9LCJUaXRsZVN0eWxlIjp7IiRpZCI6IjExNjciLCJGb250U2V0dGluZ3MiOnsiJGlkIjoiMTE2OCIsIkZvbnRTaXplIjoxMSwiRm9udE5hbWUiOiJDYWxpYnJpIiwiSXNCb2xkIjp0cnVlLCJJc0l0YWxpYyI6ZmFsc2UsIklzVW5kZXJsaW5lZCI6ZmFsc2UsIlBhcmVudFN0eWxlIjpudWxsfSwiQXV0b1NpemUiOjAsIkZvcmVncm91bmQiOnsiJGlkIjoiMTE2OSIsIkNvbG9yIjp7IiRpZCI6IjExNzAiLCJBIjoyNTUsIlIiOjAsIkciOjAsIkIiOjB9fSwiTWF4V2lkdGgiOjIwMC4wLCJNYXhIZWlnaHQiOiJJbmZpbml0eSIsIlNtYXJ0Rm9yZWdyb3VuZElzQWN0aXZlIjpmYWxzZSwiSG9yaXpvbnRhbEFsaWdubWVudCI6MiwiVmVydGljYWxBbGlnbm1lbnQiOjAsIlNtYXJ0Rm9yZWdyb3VuZCI6bnVsbCwiQmFja2dyb3VuZEZpbGxUeXBlIjowLCJNYXJnaW4iOnsiJHJlZiI6IjI4NiJ9LCJQYWRkaW5nIjp7IiRyZWYiOiIyODcifSwiQmFja2dyb3VuZCI6eyIkaWQiOiIxMTcxIiwiQ29sb3IiOnsiJGlkIjoiMTE3MiIsIkEiOjAsIlIiOjI1NSwiRyI6MjU1LCJCIjoyNTV9fSwiSXNWaXNpYmxlIjp0cnVlLCJXaWR0aCI6MC4wLCJIZWlnaHQiOjAuMCwiQm9yZGVyU3R5bGUiOm51bGwsIlBhcmVudFN0eWxlIjpudWxsfSwiRGF0ZVN0eWxlIjp7IiRpZCI6IjExNzMiLCJGb250U2V0dGluZ3MiOnsiJGlkIjoiMTE3NCIsIkZvbnRTaXplIjoxMCwiRm9udE5hbWUiOiJDYWxpYnJpIiwiSXNCb2xkIjpmYWxzZSwiSXNJdGFsaWMiOmZhbHNlLCJJc1VuZGVybGluZWQiOmZhbHNlLCJQYXJlbnRTdHlsZSI6bnVsbH0sIkF1dG9TaXplIjowLCJGb3JlZ3JvdW5kIjp7IiRpZCI6IjExNzUiLCJDb2xvciI6eyIkaWQiOiIxMTc2IiwiQSI6MjU1LCJSIjo2OCwiRyI6ODQsIkIiOjEwNn19LCJNYXhXaWR0aCI6MjAwLjAsIk1heEhlaWdodCI6IkluZmluaXR5IiwiU21hcnRGb3JlZ3JvdW5kSXNBY3RpdmUiOmZhbHNlLCJIb3Jpem9udGFsQWxpZ25tZW50IjoyLCJWZXJ0aWNhbEFsaWdubWVudCI6MCwiU21hcnRGb3JlZ3JvdW5kIjpudWxsLCJCYWNrZ3JvdW5kRmlsbFR5cGUiOjAsIk1hcmdpbiI6eyIkcmVmIjoiMjk1In0sIlBhZGRpbmciOnsiJHJlZiI6IjI5NiJ9LCJCYWNrZ3JvdW5kIjp7IiRpZCI6IjExNzciLCJDb2xvciI6eyIkaWQiOiIxMTc4IiwiQSI6MCwiUiI6MjU1LCJHIjoyNTUsIkIiOjI1NX19LCJJc1Zpc2libGUiOmZhbHNlLCJXaWR0aCI6MC4wLCJIZWlnaHQiOjAuMCwiQm9yZGVyU3R5bGUiOm51bGwsIlBhcmVudFN0eWxlIjpudWxsfSwiRGF0ZUZvcm1hdCI6eyIkcmVmIjoiMzAwIn0sIldlZWtOdW1iZXJpbmciOnsiJGlkIjoiMTE3OSIsIkZvcm1hdCI6MCwiSXNWaXNpYmxlIjpmYWxzZSwiTGFzdEtub3duVmlzaWJpbGl0eVN0YXRlIjpmYWxzZX0sIklzVmlzaWJsZSI6dHJ1ZSwiUGFyZW50U3R5bGUiOm51bGx9LCJIeXBlcmxpbmsiOnsiJGlkIjoiMTE4MCIsIkFkZHJlc3MiOiIiLCJTdWJBZGRyZXNzIjoiIn0sIkltcG9ydElkIjpudWxsfSx7IiRpZCI6IjExODEiLCJJZCI6IjM4ZjdjYWY5LWI3NDAtNDY3NC1iNTA0LTBkMGFiMjA0ZjlmOSIsIkluZGV4IjozMiwiR3JvdXBJZCI6IjkzOTkzMGRkLWFkOWUtNGVmMC1iOTVhLTQyNTFmZjVkN2RkNSIsIlRpdGxlIjoiU2VydmljZSBEYXNoYm9hcmQiLCJEYXRlVGltZSI6IjIwMjItMDgtMTBUMjM6NTk6MDAiLCJQZXJjZW50YWdlQ29tcGxldGUiOm51bGwsIk5vdGUiOm51bGwsIlN0eWxlIjp7IiRpZCI6IjExODIiLCJUaXRsZVBvc2l0aW9uIjoiTGVmdCIsIkRhdGVQb3NpdGlvbiI6IkxlZnQiLCJTaGFwZVR5cGUiOjYsIlNoYXBlU2l6ZSI6MywiU2hhcGVTdHlsZSI6eyIkaWQiOiIxMTgzIiwiTWFyZ2luIjp7IiRyZWYiOiIyNzcifSwiUGFkZGluZyI6eyIkcmVmIjoiMjc4In0sIkJhY2tncm91bmQiOnsiJGlkIjoiMTE4NCIsIkNvbG9yIjp7IiRpZCI6IjExODUiLCJBIjoyNTUsIlIiOjY4LCJHIjoxMTQsIkIiOjE5Nn19LCJJc1Zpc2libGUiOnRydWUsIldpZHRoIjoxNC42ODI1MTk5MTI3MTk3MjcsIkhlaWdodCI6MTYuMzEzOTM2MjMzNTIwNTA4LCJCb3JkZXJTdHlsZSI6eyIkaWQiOiIxMTg2IiwiTGluZUNvbG9yIjpudWxsLCJMaW5lV2VpZ2h0IjowLjAsIkxpbmVUeXBlIjowLCJQYXJlbnRTdHlsZSI6bnVsbH0sIlBhcmVudFN0eWxlIjpudWxsfSwiVGl0bGVTdHlsZSI6eyIkaWQiOiIxMTg3IiwiRm9udFNldHRpbmdzIjp7IiRpZCI6IjExODgiLCJGb250U2l6ZSI6MTEsIkZvbnROYW1lIjoiQ2FsaWJyaSIsIklzQm9sZCI6dHJ1ZSwiSXNJdGFsaWMiOmZhbHNlLCJJc1VuZGVybGluZWQiOmZhbHNlLCJQYXJlbnRTdHlsZSI6bnVsbH0sIkF1dG9TaXplIjowLCJGb3JlZ3JvdW5kIjp7IiRpZCI6IjExODkiLCJDb2xvciI6eyIkaWQiOiIxMTkwIiwiQSI6MjU1LCJSIjowLCJHIjowLCJCIjowfX0sIk1heFdpZHRoIjoyMDAuMCwiTWF4SGVpZ2h0IjoiSW5maW5pdHkiLCJTbWFydEZvcmVncm91bmRJc0FjdGl2ZSI6ZmFsc2UsIkhvcml6b250YWxBbGlnbm1lbnQiOjIsIlZlcnRpY2FsQWxpZ25tZW50IjowLCJTbWFydEZvcmVncm91bmQiOm51bGwsIkJhY2tncm91bmRGaWxsVHlwZSI6MCwiTWFyZ2luIjp7IiRyZWYiOiIyODYifSwiUGFkZGluZyI6eyIkcmVmIjoiMjg3In0sIkJhY2tncm91bmQiOnsiJGlkIjoiMTE5MSIsIkNvbG9yIjp7IiRpZCI6IjExOTIiLCJBIjowLCJSIjoyNTUsIkciOjI1NSwiQiI6MjU1fX0sIklzVmlzaWJsZSI6dHJ1ZSwiV2lkdGgiOjAuMCwiSGVpZ2h0IjowLjAsIkJvcmRlclN0eWxlIjpudWxsLCJQYXJlbnRTdHlsZSI6bnVsbH0sIkRhdGVTdHlsZSI6eyIkaWQiOiIxMTkzIiwiRm9udFNldHRpbmdzIjp7IiRpZCI6IjExOTQiLCJGb250U2l6ZSI6MTAsIkZvbnROYW1lIjoiQ2FsaWJyaSIsIklzQm9sZCI6ZmFsc2UsIklzSXRhbGljIjpmYWxzZSwiSXNVbmRlcmxpbmVkIjpmYWxzZSwiUGFyZW50U3R5bGUiOm51bGx9LCJBdXRvU2l6ZSI6MCwiRm9yZWdyb3VuZCI6eyIkaWQiOiIxMTk1IiwiQ29sb3IiOnsiJGlkIjoiMTE5NiIsIkEiOjI1NSwiUiI6NjgsIkciOjg0LCJCIjoxMDZ9fSwiTWF4V2lkdGgiOjIwMC4wLCJNYXhIZWlnaHQiOiJJbmZpbml0eSIsIlNtYXJ0Rm9yZWdyb3VuZElzQWN0aXZlIjpmYWxzZSwiSG9yaXpvbnRhbEFsaWdubWVudCI6MiwiVmVydGljYWxBbGlnbm1lbnQiOjAsIlNtYXJ0Rm9yZWdyb3VuZCI6bnVsbCwiQmFja2dyb3VuZEZpbGxUeXBlIjowLCJNYXJnaW4iOnsiJHJlZiI6IjI5NSJ9LCJQYWRkaW5nIjp7IiRyZWYiOiIyOTYifSwiQmFja2dyb3VuZCI6eyIkaWQiOiIxMTk3IiwiQ29sb3IiOnsiJGlkIjoiMTE5OCIsIkEiOjAsIlIiOjI1NSwiRyI6MjU1LCJCIjoyNTV9fSwiSXNWaXNpYmxlIjpmYWxzZSwiV2lkdGgiOjAuMCwiSGVpZ2h0IjowLjAsIkJvcmRlclN0eWxlIjpudWxsLCJQYXJlbnRTdHlsZSI6bnVsbH0sIkRhdGVGb3JtYXQiOnsiJHJlZiI6IjMwMCJ9LCJXZWVrTnVtYmVyaW5nIjp7IiRpZCI6IjExOTkiLCJGb3JtYXQiOjAsIklzVmlzaWJsZSI6ZmFsc2UsIkxhc3RLbm93blZpc2liaWxpdHlTdGF0ZSI6ZmFsc2V9LCJJc1Zpc2libGUiOnRydWUsIlBhcmVudFN0eWxlIjpudWxsfSwiSHlwZXJsaW5rIjp7IiRpZCI6IjEyMDAiLCJBZGRyZXNzIjoiIiwiU3ViQWRkcmVzcyI6IiJ9LCJJbXBvcnRJZCI6bnVsbH0seyIkaWQiOiIxMjAxIiwiSWQiOiI1MDI0ZGE1Zi00ZDg4LTQxNzQtOGE4OS01NDQxMjZmOWRhODIiLCJJbmRleCI6MzMsIkdyb3VwSWQiOiI5Mzk5MzBkZC1hZDllLTRlZjAtYjk1YS00MjUxZmY1ZDdkZDUiLCJUaXRsZSI6IlJlYWwtdGltZSBBbmFseXRpY3MiLCJEYXRlVGltZSI6IjIwMjItMTAtMTlUMDA6MDA6MDAiLCJQZXJjZW50YWdlQ29tcGxldGUiOm51bGwsIk5vdGUiOm51bGwsIlN0eWxlIjp7IiRpZCI6IjEyMDIiLCJUaXRsZVBvc2l0aW9uIjoiTGVmdCIsIkRhdGVQb3NpdGlvbiI6IkxlZnQiLCJTaGFwZVR5cGUiOjYsIlNoYXBlU2l6ZSI6MywiU2hhcGVTdHlsZSI6eyIkaWQiOiIxMjAzIiwiTWFyZ2luIjp7IiRyZWYiOiIyNzcifSwiUGFkZGluZyI6eyIkcmVmIjoiMjc4In0sIkJhY2tncm91bmQiOnsiJGlkIjoiMTIwNCIsIkNvbG9yIjp7IiRpZCI6IjEyMDUiLCJBIjoyNTUsIlIiOjY4LCJHIjoxMTQsIkIiOjE5Nn19LCJJc1Zpc2libGUiOnRydWUsIldpZHRoIjoxNC42ODI1MTk5MTI3MTk3MjcsIkhlaWdodCI6MTYuMzEzOTM2MjMzNTIwNTA4LCJCb3JkZXJTdHlsZSI6eyIkaWQiOiIxMjA2IiwiTGluZUNvbG9yIjpudWxsLCJMaW5lV2VpZ2h0IjowLjAsIkxpbmVUeXBlIjowLCJQYXJlbnRTdHlsZSI6bnVsbH0sIlBhcmVudFN0eWxlIjpudWxsfSwiVGl0bGVTdHlsZSI6eyIkaWQiOiIxMjA3IiwiRm9udFNldHRpbmdzIjp7IiRpZCI6IjEyMDgiLCJGb250U2l6ZSI6MTEsIkZvbnROYW1lIjoiQ2FsaWJyaSIsIklzQm9sZCI6dHJ1ZSwiSXNJdGFsaWMiOmZhbHNlLCJJc1VuZGVybGluZWQiOmZhbHNlLCJQYXJlbnRTdHlsZSI6bnVsbH0sIkF1dG9TaXplIjowLCJGb3JlZ3JvdW5kIjp7IiRpZCI6IjEyMDkiLCJDb2xvciI6eyIkaWQiOiIxMjEwIiwiQSI6MjU1LCJSIjowLCJHIjowLCJCIjowfX0sIk1heFdpZHRoIjoyMDAuMCwiTWF4SGVpZ2h0IjoiSW5maW5pdHkiLCJTbWFydEZvcmVncm91bmRJc0FjdGl2ZSI6ZmFsc2UsIkhvcml6b250YWxBbGlnbm1lbnQiOjIsIlZlcnRpY2FsQWxpZ25tZW50IjowLCJTbWFydEZvcmVncm91bmQiOm51bGwsIkJhY2tncm91bmRGaWxsVHlwZSI6MCwiTWFyZ2luIjp7IiRyZWYiOiIyODYifSwiUGFkZGluZyI6eyIkcmVmIjoiMjg3In0sIkJhY2tncm91bmQiOnsiJGlkIjoiMTIxMSIsIkNvbG9yIjp7IiRpZCI6IjEyMTIiLCJBIjowLCJSIjoyNTUsIkciOjI1NSwiQiI6MjU1fX0sIklzVmlzaWJsZSI6dHJ1ZSwiV2lkdGgiOjAuMCwiSGVpZ2h0IjowLjAsIkJvcmRlclN0eWxlIjpudWxsLCJQYXJlbnRTdHlsZSI6bnVsbH0sIkRhdGVTdHlsZSI6eyIkaWQiOiIxMjEzIiwiRm9udFNldHRpbmdzIjp7IiRpZCI6IjEyMTQiLCJGb250U2l6ZSI6MTAsIkZvbnROYW1lIjoiQ2FsaWJyaSIsIklzQm9sZCI6ZmFsc2UsIklzSXRhbGljIjpmYWxzZSwiSXNVbmRlcmxpbmVkIjpmYWxzZSwiUGFyZW50U3R5bGUiOm51bGx9LCJBdXRvU2l6ZSI6MCwiRm9yZWdyb3VuZCI6eyIkaWQiOiIxMjE1IiwiQ29sb3IiOnsiJGlkIjoiMTIxNiIsIkEiOjI1NSwiUiI6NjgsIkciOjg0LCJCIjoxMDZ9fSwiTWF4V2lkdGgiOjIwMC4wLCJNYXhIZWlnaHQiOiJJbmZpbml0eSIsIlNtYXJ0Rm9yZWdyb3VuZElzQWN0aXZlIjpmYWxzZSwiSG9yaXpvbnRhbEFsaWdubWVudCI6MiwiVmVydGljYWxBbGlnbm1lbnQiOjAsIlNtYXJ0Rm9yZWdyb3VuZCI6bnVsbCwiQmFja2dyb3VuZEZpbGxUeXBlIjowLCJNYXJnaW4iOnsiJHJlZiI6IjI5NSJ9LCJQYWRkaW5nIjp7IiRyZWYiOiIyOTYifSwiQmFja2dyb3VuZCI6eyIkaWQiOiIxMjE3IiwiQ29sb3IiOnsiJGlkIjoiMTIxOCIsIkEiOjAsIlIiOjI1NSwiRyI6MjU1LCJCIjoyNTV9fSwiSXNWaXNpYmxlIjpmYWxzZSwiV2lkdGgiOjAuMCwiSGVpZ2h0IjowLjAsIkJvcmRlclN0eWxlIjpudWxsLCJQYXJlbnRTdHlsZSI6bnVsbH0sIkRhdGVGb3JtYXQiOnsiJHJlZiI6IjMwMCJ9LCJXZWVrTnVtYmVyaW5nIjp7IiRpZCI6IjEyMTkiLCJGb3JtYXQiOjAsIklzVmlzaWJsZSI6ZmFsc2UsIkxhc3RLbm93blZpc2liaWxpdHlTdGF0ZSI6ZmFsc2V9LCJJc1Zpc2libGUiOnRydWUsIlBhcmVudFN0eWxlIjpudWxsfSwiSHlwZXJsaW5rIjp7IiRpZCI6IjEyMjAiLCJBZGRyZXNzIjoiIiwiU3ViQWRkcmVzcyI6IiJ9LCJJbXBvcnRJZCI6bnVsbH0seyIkaWQiOiIxMjIxIiwiSWQiOiI0MmMxYTBjYS0wZWM3LTQ2ODAtYTU4Yi1iZDNjNDlmOTEyNWIiLCJJbmRleCI6MzQsIkdyb3VwSWQiOiI5Mzk5MzBkZC1hZDllLTRlZjAtYjk1YS00MjUxZmY1ZDdkZDUiLCJUaXRsZSI6IlF1YWxpdHkgTWV0cmljcyIsIkRhdGVUaW1lIjoiMjAyMi0wNS0xOVQyMzo1OTowMCIsIlBlcmNlbnRhZ2VDb21wbGV0ZSI6bnVsbCwiTm90ZSI6bnVsbCwiU3R5bGUiOnsiJGlkIjoiMTIyMiIsIlRpdGxlUG9zaXRpb24iOiJMZWZ0IiwiRGF0ZVBvc2l0aW9uIjoiTGVmdCIsIlNoYXBlVHlwZSI6NiwiU2hhcGVTaXplIjozLCJTaGFwZVN0eWxlIjp7IiRpZCI6IjEyMjMiLCJNYXJnaW4iOnsiJHJlZiI6IjI3NyJ9LCJQYWRkaW5nIjp7IiRyZWYiOiIyNzgifSwiQmFja2dyb3VuZCI6eyIkaWQiOiIxMjI0IiwiQ29sb3IiOnsiJGlkIjoiMTIyNSIsIkEiOjI1NSwiUiI6NjgsIkciOjExNCwiQiI6MTk2fX0sIklzVmlzaWJsZSI6dHJ1ZSwiV2lkdGgiOjE0LjY4MjUxOTkxMjcxOTcyNywiSGVpZ2h0IjoxNi4zMTM5MzYyMzM1MjA1MDgsIkJvcmRlclN0eWxlIjp7IiRpZCI6IjEyMjYiLCJMaW5lQ29sb3IiOm51bGwsIkxpbmVXZWlnaHQiOjAuMCwiTGluZVR5cGUiOjAsIlBhcmVudFN0eWxlIjpudWxsfSwiUGFyZW50U3R5bGUiOm51bGx9LCJUaXRsZVN0eWxlIjp7IiRpZCI6IjEyMjciLCJGb250U2V0dGluZ3MiOnsiJGlkIjoiMTIyOCIsIkZvbnRTaXplIjoxMSwiRm9udE5hbWUiOiJDYWxpYnJpIiwiSXNCb2xkIjp0cnVlLCJJc0l0YWxpYyI6ZmFsc2UsIklzVW5kZXJsaW5lZCI6ZmFsc2UsIlBhcmVudFN0eWxlIjpudWxsfSwiQXV0b1NpemUiOjAsIkZvcmVncm91bmQiOnsiJGlkIjoiMTIyOSIsIkNvbG9yIjp7IiRpZCI6IjEyMzAiLCJBIjoyNTUsIlIiOjAsIkciOjAsIkIiOjB9fSwiTWF4V2lkdGgiOjIwMC4wLCJNYXhIZWlnaHQiOiJJbmZpbml0eSIsIlNtYXJ0Rm9yZWdyb3VuZElzQWN0aXZlIjpmYWxzZSwiSG9yaXpvbnRhbEFsaWdubWVudCI6MiwiVmVydGljYWxBbGlnbm1lbnQiOjAsIlNtYXJ0Rm9yZWdyb3VuZCI6bnVsbCwiQmFja2dyb3VuZEZpbGxUeXBlIjowLCJNYXJnaW4iOnsiJHJlZiI6IjI4NiJ9LCJQYWRkaW5nIjp7IiRyZWYiOiIyODcifSwiQmFja2dyb3VuZCI6eyIkaWQiOiIxMjMxIiwiQ29sb3IiOnsiJGlkIjoiMTIzMiIsIkEiOjAsIlIiOjI1NSwiRyI6MjU1LCJCIjoyNTV9fSwiSXNWaXNpYmxlIjp0cnVlLCJXaWR0aCI6MC4wLCJIZWlnaHQiOjAuMCwiQm9yZGVyU3R5bGUiOm51bGwsIlBhcmVudFN0eWxlIjpudWxsfSwiRGF0ZVN0eWxlIjp7IiRpZCI6IjEyMzMiLCJGb250U2V0dGluZ3MiOnsiJGlkIjoiMTIzNCIsIkZvbnRTaXplIjoxMCwiRm9udE5hbWUiOiJDYWxpYnJpIiwiSXNCb2xkIjpmYWxzZSwiSXNJdGFsaWMiOmZhbHNlLCJJc1VuZGVybGluZWQiOmZhbHNlLCJQYXJlbnRTdHlsZSI6bnVsbH0sIkF1dG9TaXplIjowLCJGb3JlZ3JvdW5kIjp7IiRpZCI6IjEyMzUiLCJDb2xvciI6eyIkaWQiOiIxMjM2IiwiQSI6MjU1LCJSIjo2OCwiRyI6ODQsIkIiOjEwNn19LCJNYXhXaWR0aCI6MjAwLjAsIk1heEhlaWdodCI6IkluZmluaXR5IiwiU21hcnRGb3JlZ3JvdW5kSXNBY3RpdmUiOmZhbHNlLCJIb3Jpem9udGFsQWxpZ25tZW50IjoyLCJWZXJ0aWNhbEFsaWdubWVudCI6MCwiU21hcnRGb3JlZ3JvdW5kIjpudWxsLCJCYWNrZ3JvdW5kRmlsbFR5cGUiOjAsIk1hcmdpbiI6eyIkcmVmIjoiMjk1In0sIlBhZGRpbmciOnsiJHJlZiI6IjI5NiJ9LCJCYWNrZ3JvdW5kIjp7IiRpZCI6IjEyMzciLCJDb2xvciI6eyIkaWQiOiIxMjM4IiwiQSI6MCwiUiI6MjU1LCJHIjoyNTUsIkIiOjI1NX19LCJJc1Zpc2libGUiOmZhbHNlLCJXaWR0aCI6MC4wLCJIZWlnaHQiOjAuMCwiQm9yZGVyU3R5bGUiOm51bGwsIlBhcmVudFN0eWxlIjpudWxsfSwiRGF0ZUZvcm1hdCI6eyIkaWQiOiIxMjM5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yNDAiLCJGb3JtYXQiOjAsIklzVmlzaWJsZSI6ZmFsc2UsIkxhc3RLbm93blZpc2liaWxpdHlTdGF0ZSI6ZmFsc2V9LCJJc1Zpc2libGUiOnRydWUsIlBhcmVudFN0eWxlIjpudWxsfSwiSHlwZXJsaW5rIjp7IiRpZCI6IjEyNDEiLCJBZGRyZXNzIjoiIiwiU3ViQWRkcmVzcyI6IiJ9LCJJbXBvcnRJZCI6bnVsbH1dLCJJZCI6IjkzOTkzMGRkLWFkOWUtNGVmMC1iOTVhLTQyNTFmZjVkN2RkNSIsIklzU2luZ2xlSXRlbVJvdyI6ZmFsc2V9LHsiJGlkIjoiMTI0MiIsIl90YXNrcyI6W10sIl9taWxlc3RvbmVzIjpbeyIkaWQiOiIxMjQzIiwiSWQiOiIwZmU2ZTZjNC1kMzQ5LTQyN2MtODFjYS1jY2Y1NzZiYTQ2MGMiLCJJbmRleCI6MzUsIkdyb3VwSWQiOiJiYzI4OTJmMS1kNDBlLTRmMDUtYTkzYy1jOWQ2NTJhMzhkMDUiLCJUaXRsZSI6IkNvbnZlcnNpb24gTWV0cmljcyIsIkRhdGVUaW1lIjoiMjAyMi0xMC0xOFQyMTo1ODowMCIsIlBlcmNlbnRhZ2VDb21wbGV0ZSI6bnVsbCwiTm90ZSI6bnVsbCwiU3R5bGUiOnsiJGlkIjoiMTI0NCIsIlRpdGxlUG9zaXRpb24iOiJMZWZ0IiwiRGF0ZVBvc2l0aW9uIjoiTGVmdCIsIlNoYXBlVHlwZSI6NiwiU2hhcGVTaXplIjozLCJTaGFwZVN0eWxlIjp7IiRpZCI6IjEyNDUiLCJNYXJnaW4iOnsiJHJlZiI6IjI3NyJ9LCJQYWRkaW5nIjp7IiRyZWYiOiIyNzgifSwiQmFja2dyb3VuZCI6eyIkaWQiOiIxMjQ2IiwiQ29sb3IiOnsiJGlkIjoiMTI0NyIsIkEiOjI1NSwiUiI6NjgsIkciOjExNCwiQiI6MTk2fX0sIklzVmlzaWJsZSI6dHJ1ZSwiV2lkdGgiOjE0LjY4MjUxOTkxMjcxOTcyNywiSGVpZ2h0IjoxNi4zMTM5MzYyMzM1MjA1MDgsIkJvcmRlclN0eWxlIjp7IiRpZCI6IjEyNDgiLCJMaW5lQ29sb3IiOm51bGwsIkxpbmVXZWlnaHQiOjAuMCwiTGluZVR5cGUiOjAsIlBhcmVudFN0eWxlIjpudWxsfSwiUGFyZW50U3R5bGUiOm51bGx9LCJUaXRsZVN0eWxlIjp7IiRpZCI6IjEyNDkiLCJGb250U2V0dGluZ3MiOnsiJGlkIjoiMTI1MCIsIkZvbnRTaXplIjoxMSwiRm9udE5hbWUiOiJDYWxpYnJpIiwiSXNCb2xkIjp0cnVlLCJJc0l0YWxpYyI6ZmFsc2UsIklzVW5kZXJsaW5lZCI6ZmFsc2UsIlBhcmVudFN0eWxlIjpudWxsfSwiQXV0b1NpemUiOjAsIkZvcmVncm91bmQiOnsiJGlkIjoiMTI1MSIsIkNvbG9yIjp7IiRpZCI6IjEyNTIiLCJBIjoyNTUsIlIiOjAsIkciOjAsIkIiOjB9fSwiTWF4V2lkdGgiOjIwMC4wLCJNYXhIZWlnaHQiOiJJbmZpbml0eSIsIlNtYXJ0Rm9yZWdyb3VuZElzQWN0aXZlIjpmYWxzZSwiSG9yaXpvbnRhbEFsaWdubWVudCI6MiwiVmVydGljYWxBbGlnbm1lbnQiOjAsIlNtYXJ0Rm9yZWdyb3VuZCI6bnVsbCwiQmFja2dyb3VuZEZpbGxUeXBlIjowLCJNYXJnaW4iOnsiJHJlZiI6IjI4NiJ9LCJQYWRkaW5nIjp7IiRyZWYiOiIyODcifSwiQmFja2dyb3VuZCI6eyIkaWQiOiIxMjUzIiwiQ29sb3IiOnsiJGlkIjoiMTI1NCIsIkEiOjAsIlIiOjI1NSwiRyI6MjU1LCJCIjoyNTV9fSwiSXNWaXNpYmxlIjp0cnVlLCJXaWR0aCI6MC4wLCJIZWlnaHQiOjAuMCwiQm9yZGVyU3R5bGUiOm51bGwsIlBhcmVudFN0eWxlIjpudWxsfSwiRGF0ZVN0eWxlIjp7IiRpZCI6IjEyNTUiLCJGb250U2V0dGluZ3MiOnsiJGlkIjoiMTI1NiIsIkZvbnRTaXplIjoxMCwiRm9udE5hbWUiOiJDYWxpYnJpIiwiSXNCb2xkIjpmYWxzZSwiSXNJdGFsaWMiOmZhbHNlLCJJc1VuZGVybGluZWQiOmZhbHNlLCJQYXJlbnRTdHlsZSI6bnVsbH0sIkF1dG9TaXplIjowLCJGb3JlZ3JvdW5kIjp7IiRpZCI6IjEyNTciLCJDb2xvciI6eyIkaWQiOiIxMjU4IiwiQSI6MjU1LCJSIjo2OCwiRyI6ODQsIkIiOjEwNn19LCJNYXhXaWR0aCI6MjAwLjAsIk1heEhlaWdodCI6IkluZmluaXR5IiwiU21hcnRGb3JlZ3JvdW5kSXNBY3RpdmUiOmZhbHNlLCJIb3Jpem9udGFsQWxpZ25tZW50IjoyLCJWZXJ0aWNhbEFsaWdubWVudCI6MCwiU21hcnRGb3JlZ3JvdW5kIjpudWxsLCJCYWNrZ3JvdW5kRmlsbFR5cGUiOjAsIk1hcmdpbiI6eyIkcmVmIjoiMjk1In0sIlBhZGRpbmciOnsiJHJlZiI6IjI5NiJ9LCJCYWNrZ3JvdW5kIjp7IiRpZCI6IjEyNTkiLCJDb2xvciI6eyIkaWQiOiIxMjYwIiwiQSI6MCwiUiI6MjU1LCJHIjoyNTUsIkIiOjI1NX19LCJJc1Zpc2libGUiOmZhbHNlLCJXaWR0aCI6MC4wLCJIZWlnaHQiOjAuMCwiQm9yZGVyU3R5bGUiOm51bGwsIlBhcmVudFN0eWxlIjpudWxsfSwiRGF0ZUZvcm1hdCI6eyIkcmVmIjoiMzAwIn0sIldlZWtOdW1iZXJpbmciOnsiJGlkIjoiMTI2MSIsIkZvcm1hdCI6MCwiSXNWaXNpYmxlIjpmYWxzZSwiTGFzdEtub3duVmlzaWJpbGl0eVN0YXRlIjpmYWxzZX0sIklzVmlzaWJsZSI6dHJ1ZSwiUGFyZW50U3R5bGUiOm51bGx9LCJIeXBlcmxpbmsiOnsiJGlkIjoiMTI2MiIsIkFkZHJlc3MiOiIiLCJTdWJBZGRyZXNzIjoiIn0sIkltcG9ydElkIjpudWxsfSx7IiRpZCI6IjEyNjMiLCJJZCI6Ijc2OTU2MTdhLTE0YTgtNGM5NS1hMjY5LWM2Y2Q0YjRmMzM1YSIsIkluZGV4IjozNiwiR3JvdXBJZCI6ImJjMjg5MmYxLWQ0MGUtNGYwNS1hOTNjLWM5ZDY1MmEzOGQwNSIsIlRpdGxlIjoiUmVhbC10aW1lIFJlcG9ydGluZyIsIkRhdGVUaW1lIjoiMjAyMi0xMi0yMVQwMDowMDowMCIsIlBlcmNlbnRhZ2VDb21wbGV0ZSI6bnVsbCwiTm90ZSI6bnVsbCwiU3R5bGUiOnsiJGlkIjoiMTI2NCIsIlRpdGxlUG9zaXRpb24iOiJMZWZ0IiwiRGF0ZVBvc2l0aW9uIjoiTGVmdCIsIlNoYXBlVHlwZSI6NiwiU2hhcGVTaXplIjozLCJTaGFwZVN0eWxlIjp7IiRpZCI6IjEyNjUiLCJNYXJnaW4iOnsiJHJlZiI6IjI3NyJ9LCJQYWRkaW5nIjp7IiRyZWYiOiIyNzgifSwiQmFja2dyb3VuZCI6eyIkaWQiOiIxMjY2IiwiQ29sb3IiOnsiJGlkIjoiMTI2NyIsIkEiOjI1NSwiUiI6NjgsIkciOjExNCwiQiI6MTk2fX0sIklzVmlzaWJsZSI6dHJ1ZSwiV2lkdGgiOjE0LjY4MjUxOTkxMjcxOTcyNywiSGVpZ2h0IjoxNi4zMTM5MzYyMzM1MjA1MDgsIkJvcmRlclN0eWxlIjp7IiRpZCI6IjEyNjgiLCJMaW5lQ29sb3IiOm51bGwsIkxpbmVXZWlnaHQiOjAuMCwiTGluZVR5cGUiOjAsIlBhcmVudFN0eWxlIjpudWxsfSwiUGFyZW50U3R5bGUiOm51bGx9LCJUaXRsZVN0eWxlIjp7IiRpZCI6IjEyNjkiLCJGb250U2V0dGluZ3MiOnsiJGlkIjoiMTI3MCIsIkZvbnRTaXplIjoxMSwiRm9udE5hbWUiOiJDYWxpYnJpIiwiSXNCb2xkIjp0cnVlLCJJc0l0YWxpYyI6ZmFsc2UsIklzVW5kZXJsaW5lZCI6ZmFsc2UsIlBhcmVudFN0eWxlIjpudWxsfSwiQXV0b1NpemUiOjAsIkZvcmVncm91bmQiOnsiJGlkIjoiMTI3MSIsIkNvbG9yIjp7IiRpZCI6IjEyNzIiLCJBIjoyNTUsIlIiOjAsIkciOjAsIkIiOjB9fSwiTWF4V2lkdGgiOjIwMC4wLCJNYXhIZWlnaHQiOiJJbmZpbml0eSIsIlNtYXJ0Rm9yZWdyb3VuZElzQWN0aXZlIjpmYWxzZSwiSG9yaXpvbnRhbEFsaWdubWVudCI6MiwiVmVydGljYWxBbGlnbm1lbnQiOjAsIlNtYXJ0Rm9yZWdyb3VuZCI6bnVsbCwiQmFja2dyb3VuZEZpbGxUeXBlIjowLCJNYXJnaW4iOnsiJHJlZiI6IjI4NiJ9LCJQYWRkaW5nIjp7IiRyZWYiOiIyODcifSwiQmFja2dyb3VuZCI6eyIkaWQiOiIxMjczIiwiQ29sb3IiOnsiJGlkIjoiMTI3NCIsIkEiOjAsIlIiOjI1NSwiRyI6MjU1LCJCIjoyNTV9fSwiSXNWaXNpYmxlIjp0cnVlLCJXaWR0aCI6MC4wLCJIZWlnaHQiOjAuMCwiQm9yZGVyU3R5bGUiOm51bGwsIlBhcmVudFN0eWxlIjpudWxsfSwiRGF0ZVN0eWxlIjp7IiRpZCI6IjEyNzUiLCJGb250U2V0dGluZ3MiOnsiJGlkIjoiMTI3NiIsIkZvbnRTaXplIjoxMCwiRm9udE5hbWUiOiJDYWxpYnJpIiwiSXNCb2xkIjpmYWxzZSwiSXNJdGFsaWMiOmZhbHNlLCJJc1VuZGVybGluZWQiOmZhbHNlLCJQYXJlbnRTdHlsZSI6bnVsbH0sIkF1dG9TaXplIjowLCJGb3JlZ3JvdW5kIjp7IiRpZCI6IjEyNzciLCJDb2xvciI6eyIkaWQiOiIxMjc4IiwiQSI6MjU1LCJSIjo2OCwiRyI6ODQsIkIiOjEwNn19LCJNYXhXaWR0aCI6MjAwLjAsIk1heEhlaWdodCI6IkluZmluaXR5IiwiU21hcnRGb3JlZ3JvdW5kSXNBY3RpdmUiOmZhbHNlLCJIb3Jpem9udGFsQWxpZ25tZW50IjoyLCJWZXJ0aWNhbEFsaWdubWVudCI6MCwiU21hcnRGb3JlZ3JvdW5kIjpudWxsLCJCYWNrZ3JvdW5kRmlsbFR5cGUiOjAsIk1hcmdpbiI6eyIkcmVmIjoiMjk1In0sIlBhZGRpbmciOnsiJHJlZiI6IjI5NiJ9LCJCYWNrZ3JvdW5kIjp7IiRpZCI6IjEyNzkiLCJDb2xvciI6eyIkaWQiOiIxMjgwIiwiQSI6MCwiUiI6MjU1LCJHIjoyNTUsIkIiOjI1NX19LCJJc1Zpc2libGUiOmZhbHNlLCJXaWR0aCI6MC4wLCJIZWlnaHQiOjAuMCwiQm9yZGVyU3R5bGUiOm51bGwsIlBhcmVudFN0eWxlIjpudWxsfSwiRGF0ZUZvcm1hdCI6eyIkcmVmIjoiMzAwIn0sIldlZWtOdW1iZXJpbmciOnsiJGlkIjoiMTI4MSIsIkZvcm1hdCI6MCwiSXNWaXNpYmxlIjpmYWxzZSwiTGFzdEtub3duVmlzaWJpbGl0eVN0YXRlIjpmYWxzZX0sIklzVmlzaWJsZSI6dHJ1ZSwiUGFyZW50U3R5bGUiOm51bGx9LCJIeXBlcmxpbmsiOnsiJGlkIjoiMTI4MiIsIkFkZHJlc3MiOiIiLCJTdWJBZGRyZXNzIjoiIn0sIkltcG9ydElkIjpudWxsfSx7IiRpZCI6IjEyODMiLCJJZCI6IjkwODI5OGY0LTY2NzYtNDcyYS04YjM0LTE0ZmEyY2I5Mzc2YiIsIkluZGV4Ijo0MSwiR3JvdXBJZCI6ImJjMjg5MmYxLWQ0MGUtNGYwNS1hOTNjLWM5ZDY1MmEzOGQwNSIsIlRpdGxlIjoiTWlsZXN0b25lIiwiRGF0ZVRpbWUiOiIyMDIyLTA4LTIyVDIzOjU5OjAwIiwiUGVyY2VudGFnZUNvbXBsZXRlIjpudWxsLCJOb3RlIjpudWxsLCJTdHlsZSI6eyIkaWQiOiIxMjg0IiwiVGl0bGVQb3NpdGlvbiI6IkxlZnQiLCJEYXRlUG9zaXRpb24iOiJMZWZ0IiwiU2hhcGVUeXBlIjoxNCwiU2hhcGVTaXplIjoxLCJTaGFwZVN0eWxlIjp7IiRpZCI6IjEyODUiLCJNYXJnaW4iOnsiJHJlZiI6IjI3NyJ9LCJQYWRkaW5nIjp7IiRyZWYiOiIyNzgifSwiQmFja2dyb3VuZCI6eyIkaWQiOiIxMjg2IiwiQ29sb3IiOnsiJGlkIjoiMTI4NyIsIkEiOjI1NSwiUiI6NjgsIkciOjExNCwiQiI6MTk2fX0sIklzVmlzaWJsZSI6dHJ1ZSwiV2lkdGgiOjE4LjAsIkhlaWdodCI6MjAuMCwiQm9yZGVyU3R5bGUiOnsiJGlkIjoiMTI4OCIsIkxpbmVDb2xvciI6bnVsbCwiTGluZVdlaWdodCI6MC4wLCJMaW5lVHlwZSI6MCwiUGFyZW50U3R5bGUiOm51bGx9LCJQYXJlbnRTdHlsZSI6bnVsbH0sIlRpdGxlU3R5bGUiOnsiJGlkIjoiMTI4OSIsIkZvbnRTZXR0aW5ncyI6eyIkaWQiOiIxMjkwIiwiRm9udFNpemUiOjExLCJGb250TmFtZSI6IkNhbGlicmkiLCJJc0JvbGQiOnRydWUsIklzSXRhbGljIjpmYWxzZSwiSXNVbmRlcmxpbmVkIjpmYWxzZSwiUGFyZW50U3R5bGUiOm51bGx9LCJBdXRvU2l6ZSI6MCwiRm9yZWdyb3VuZCI6eyIkaWQiOiIxMjkxIiwiQ29sb3IiOnsiJGlkIjoiMTI5MiIsIkEiOjI1NSwiUiI6MCwiRyI6MCwiQiI6MH19LCJNYXhXaWR0aCI6MjAwLjAsIk1heEhlaWdodCI6IkluZmluaXR5IiwiU21hcnRGb3JlZ3JvdW5kSXNBY3RpdmUiOmZhbHNlLCJIb3Jpem9udGFsQWxpZ25tZW50IjoyLCJWZXJ0aWNhbEFsaWdubWVudCI6MCwiU21hcnRGb3JlZ3JvdW5kIjpudWxsLCJCYWNrZ3JvdW5kRmlsbFR5cGUiOjAsIk1hcmdpbiI6eyIkcmVmIjoiMjg2In0sIlBhZGRpbmciOnsiJHJlZiI6IjI4NyJ9LCJCYWNrZ3JvdW5kIjp7IiRpZCI6IjEyOTMiLCJDb2xvciI6eyIkcmVmIjoiMTUzIn19LCJJc1Zpc2libGUiOnRydWUsIldpZHRoIjowLjAsIkhlaWdodCI6MC4wLCJCb3JkZXJTdHlsZSI6bnVsbCwiUGFyZW50U3R5bGUiOm51bGx9LCJEYXRlU3R5bGUiOnsiJGlkIjoiMTI5NCIsIkZvbnRTZXR0aW5ncyI6eyIkaWQiOiIxMjk1IiwiRm9udFNpemUiOjEwLCJGb250TmFtZSI6IkNhbGlicmkiLCJJc0JvbGQiOmZhbHNlLCJJc0l0YWxpYyI6ZmFsc2UsIklzVW5kZXJsaW5lZCI6ZmFsc2UsIlBhcmVudFN0eWxlIjpudWxsfSwiQXV0b1NpemUiOjAsIkZvcmVncm91bmQiOnsiJGlkIjoiMTI5NiIsIkNvbG9yIjp7IiRpZCI6IjEyOTciLCJBIjoyNTUsIlIiOjY4LCJHIjo4NCwiQiI6MTA2fX0sIk1heFdpZHRoIjoyMDAuMCwiTWF4SGVpZ2h0IjoiSW5maW5pdHkiLCJTbWFydEZvcmVncm91bmRJc0FjdGl2ZSI6ZmFsc2UsIkhvcml6b250YWxBbGlnbm1lbnQiOjIsIlZlcnRpY2FsQWxpZ25tZW50IjowLCJTbWFydEZvcmVncm91bmQiOm51bGwsIkJhY2tncm91bmRGaWxsVHlwZSI6MCwiTWFyZ2luIjp7IiRyZWYiOiIyOTUifSwiUGFkZGluZyI6eyIkcmVmIjoiMjk2In0sIkJhY2tncm91bmQiOnsiJGlkIjoiMTI5OCIsIkNvbG9yIjp7IiRyZWYiOiIxNTMifX0sIklzVmlzaWJsZSI6ZmFsc2UsIldpZHRoIjowLjAsIkhlaWdodCI6MC4wLCJCb3JkZXJTdHlsZSI6bnVsbCwiUGFyZW50U3R5bGUiOm51bGx9LCJEYXRlRm9ybWF0Ijp7IiRpZCI6IjEyOTkiLCJGb3JtYXRTdHJpbmciOiJNTU0gZCIsIlNlcGFyYXRvciI6Ii8iLCJVc2VJbnRlcm5hdGlvbmFsRGF0ZUZvcm1hdCI6ZmFsc2UsIkRhdGVJc1Zpc2libGUiOnRydWUsIlRpbWVJc1Zpc2libGUiOmZhbHNlLCJIb3VyRGlnaXRzIjoxLCJBbVBtRGVzaWduYXRvciI6MiwiVHJpbTAwTWludXRlcyI6ZmFsc2UsIkxhc3RLbm93blZpc2liaWxpdHlTdGF0ZSI6bnVsbH0sIldlZWtOdW1iZXJpbmciOnsiJGlkIjoiMTMwMCIsIkZvcm1hdCI6MCwiSXNWaXNpYmxlIjpmYWxzZSwiTGFzdEtub3duVmlzaWJpbGl0eVN0YXRlIjpmYWxzZX0sIklzVmlzaWJsZSI6ZmFsc2UsIlBhcmVudFN0eWxlIjpudWxsfSwiSHlwZXJsaW5rIjp7IiRpZCI6IjEzMDEiLCJBZGRyZXNzIjoiIiwiU3ViQWRkcmVzcyI6IiJ9LCJJbXBvcnRJZCI6bnVsbH1dLCJJZCI6ImJjMjg5MmYxLWQ0MGUtNGYwNS1hOTNjLWM5ZDY1MmEzOGQwNSIsIklzU2luZ2xlSXRlbVJvdyI6ZmFsc2V9LHsiJGlkIjoiMTMwMiIsIl90YXNrcyI6W10sIl9taWxlc3RvbmVzIjpbeyIkaWQiOiIxMzAzIiwiSWQiOiIxMGY3YzVkZi04MDhkLTQxOGItOWJiYS01ZWQ1YWFiNTkwZTMiLCJJbmRleCI6NDIsIkdyb3VwSWQiOiIiLCJUaXRsZSI6IlJlcG9ydGluZyIsIkRhdGVUaW1lIjoiMjAyMi0xMi0xMlQwMDowMDowMCIsIlBlcmNlbnRhZ2VDb21wbGV0ZSI6bnVsbCwiTm90ZSI6bnVsbCwiU3R5bGUiOnsiJGlkIjoiMTMwNCIsIlRpdGxlUG9zaXRpb24iOiJMZWZ0IiwiRGF0ZVBvc2l0aW9uIjoiTGVmdCIsIlNoYXBlVHlwZSI6MTQsIlNoYXBlU2l6ZSI6MSwiU2hhcGVTdHlsZSI6eyIkaWQiOiIxMzA1IiwiTWFyZ2luIjp7IiRyZWYiOiIyNzcifSwiUGFkZGluZyI6eyIkcmVmIjoiMjc4In0sIkJhY2tncm91bmQiOnsiJGlkIjoiMTMwNiIsIkNvbG9yIjp7IiRpZCI6IjEzMDciLCJBIjoyNTUsIlIiOjY4LCJHIjoxMTQsIkIiOjE5Nn19LCJJc1Zpc2libGUiOnRydWUsIldpZHRoIjoxOC4wLCJIZWlnaHQiOjIwLjAsIkJvcmRlclN0eWxlIjp7IiRpZCI6IjEzMDgiLCJMaW5lQ29sb3IiOm51bGwsIkxpbmVXZWlnaHQiOjAuMCwiTGluZVR5cGUiOjAsIlBhcmVudFN0eWxlIjpudWxsfSwiUGFyZW50U3R5bGUiOm51bGx9LCJUaXRsZVN0eWxlIjp7IiRpZCI6IjEzMDkiLCJGb250U2V0dGluZ3MiOnsiJGlkIjoiMTMxMCIsIkZvbnRTaXplIjoxMSwiRm9udE5hbWUiOiJDYWxpYnJpIiwiSXNCb2xkIjp0cnVlLCJJc0l0YWxpYyI6ZmFsc2UsIklzVW5kZXJsaW5lZCI6ZmFsc2UsIlBhcmVudFN0eWxlIjpudWxsfSwiQXV0b1NpemUiOjAsIkZvcmVncm91bmQiOnsiJGlkIjoiMTMxMSIsIkNvbG9yIjp7IiRpZCI6IjEzMTIiLCJBIjoyNTUsIlIiOjAsIkciOjAsIkIiOjB9fSwiTWF4V2lkdGgiOjIwMC4wLCJNYXhIZWlnaHQiOiJJbmZpbml0eSIsIlNtYXJ0Rm9yZWdyb3VuZElzQWN0aXZlIjpmYWxzZSwiSG9yaXpvbnRhbEFsaWdubWVudCI6MiwiVmVydGljYWxBbGlnbm1lbnQiOjAsIlNtYXJ0Rm9yZWdyb3VuZCI6bnVsbCwiQmFja2dyb3VuZEZpbGxUeXBlIjowLCJNYXJnaW4iOnsiJHJlZiI6IjI4NiJ9LCJQYWRkaW5nIjp7IiRyZWYiOiIyODcifSwiQmFja2dyb3VuZCI6eyIkcmVmIjoiMTI5MyJ9LCJJc1Zpc2libGUiOnRydWUsIldpZHRoIjowLjAsIkhlaWdodCI6MC4wLCJCb3JkZXJTdHlsZSI6bnVsbCwiUGFyZW50U3R5bGUiOm51bGx9LCJEYXRlU3R5bGUiOnsiJGlkIjoiMTMxMyIsIkZvbnRTZXR0aW5ncyI6eyIkaWQiOiIxMzE0IiwiRm9udFNpemUiOjEwLCJGb250TmFtZSI6IkNhbGlicmkiLCJJc0JvbGQiOmZhbHNlLCJJc0l0YWxpYyI6ZmFsc2UsIklzVW5kZXJsaW5lZCI6ZmFsc2UsIlBhcmVudFN0eWxlIjpudWxsfSwiQXV0b1NpemUiOjAsIkZvcmVncm91bmQiOnsiJHJlZiI6IjEyOTYifSwiTWF4V2lkdGgiOjIwMC4wLCJNYXhIZWlnaHQiOiJJbmZpbml0eSIsIlNtYXJ0Rm9yZWdyb3VuZElzQWN0aXZlIjpmYWxzZSwiSG9yaXpvbnRhbEFsaWdubWVudCI6MiwiVmVydGljYWxBbGlnbm1lbnQiOjAsIlNtYXJ0Rm9yZWdyb3VuZCI6bnVsbCwiQmFja2dyb3VuZEZpbGxUeXBlIjowLCJNYXJnaW4iOnsiJHJlZiI6IjI5NSJ9LCJQYWRkaW5nIjp7IiRyZWYiOiIyOTYifSwiQmFja2dyb3VuZCI6eyIkcmVmIjoiMTI5OCJ9LCJJc1Zpc2libGUiOmZhbHNlLCJXaWR0aCI6MC4wLCJIZWlnaHQiOjAuMCwiQm9yZGVyU3R5bGUiOm51bGwsIlBhcmVudFN0eWxlIjpudWxsfSwiRGF0ZUZvcm1hdCI6eyIkaWQiOiIxMzE1IiwiRm9ybWF0U3RyaW5nIjoiTU1NIGQiLCJTZXBhcmF0b3IiOiIvIiwiVXNlSW50ZXJuYXRpb25hbERhdGVGb3JtYXQiOmZhbHNlLCJEYXRlSXNWaXNpYmxlIjp0cnVlLCJUaW1lSXNWaXNpYmxlIjpmYWxzZSwiSG91ckRpZ2l0cyI6MSwiQW1QbURlc2lnbmF0b3IiOjIsIlRyaW0wME1pbnV0ZXMiOmZhbHNlLCJMYXN0S25vd25WaXNpYmlsaXR5U3RhdGUiOm51bGx9LCJXZWVrTnVtYmVyaW5nIjp7IiRpZCI6IjEzMTYiLCJGb3JtYXQiOjAsIklzVmlzaWJsZSI6ZmFsc2UsIkxhc3RLbm93blZpc2liaWxpdHlTdGF0ZSI6ZmFsc2V9LCJJc1Zpc2libGUiOmZhbHNlLCJQYXJlbnRTdHlsZSI6bnVsbH0sIkh5cGVybGluayI6eyIkaWQiOiIxMzE3IiwiQWRkcmVzcyI6IiIsIlN1YkFkZHJlc3MiOiIifSwiSW1wb3J0SWQiOm51bGx9XSwiSWQiOiIwMDAwMDAwMC0wMDAwLTAwMDAtMDAwMC0wMDAwMDAwMDAwMDAiLCJJc1NpbmdsZUl0ZW1Sb3ciOnRydWV9XSwiSW5kZXgiOjAsIklkIjoiOWQwNzllZjgtMWIwNC00YmE5LWJiNWItNzBjMjU5MGVhODhiIiwiSGVhZGVyVGV4dCI6bnVsbCwiSXNEZWZhdWx0Ijp0cnVlLCJTdHlsZSI6eyIkaWQiOiIxMzE4IiwiSGVhZGVyU3R5bGUiOnsiJGlkIjoiMTMxOSIsIlRleHRTdHlsZSI6eyIkaWQiOiIxMzIwIiwiRm9udFNldHRpbmdzIjp7IiRpZCI6IjEzMjEiLCJGb250U2l6ZSI6MTEsIkZvbnROYW1lIjoiQ2FsaWJyaSIsIklzQm9sZCI6ZmFsc2UsIklzSXRhbGljIjpmYWxzZSwiSXNVbmRlcmxpbmVkIjpmYWxzZSwiUGFyZW50U3R5bGUiOm51bGx9LCJBdXRvU2l6ZSI6MiwiRm9yZWdyb3VuZCI6eyIkaWQiOiIxMzIyIiwiQ29sb3IiOnsiJGlkIjoiMTMyMyIsIkEiOjI1NSwiUiI6MCwiRyI6MCwiQiI6MH19LCJNYXhXaWR0aCI6MC4wLCJNYXhIZWlnaHQiOiJJbmZpbml0eSIsIlNtYXJ0Rm9yZWdyb3VuZElzQWN0aXZlIjpmYWxzZSwiSG9yaXpvbnRhbEFsaWdubWVudCI6MCwiVmVydGljYWxBbGlnbm1lbnQiOjAsIlNtYXJ0Rm9yZWdyb3VuZCI6bnVsbCwiQmFja2dyb3VuZEZpbGxUeXBlIjowLCJNYXJnaW4iOnsiJGlkIjoiMTMyNCIsIlRvcCI6MC4wLCJMZWZ0IjowLjAsIlJpZ2h0IjowLjAsIkJvdHRvbSI6MC4wfSwiUGFkZGluZyI6eyIkaWQiOiIxMzI1IiwiVG9wIjowLjAsIkxlZnQiOjAuMCwiUmlnaHQiOjAuMCwiQm90dG9tIjowLjB9LCJCYWNrZ3JvdW5kIjpudWxsLCJJc1Zpc2libGUiOnRydWUsIldpZHRoIjowLjAsIkhlaWdodCI6MC4wLCJCb3JkZXJTdHlsZSI6bnVsbCwiUGFyZW50U3R5bGUiOm51bGx9LCJSZWN0YW5nbGVTdHlsZSI6eyIkaWQiOiIxMzI2IiwiTWFyZ2luIjp7IiRpZCI6IjEzMjciLCJUb3AiOjAuMCwiTGVmdCI6MC4wLCJSaWdodCI6MC4wLCJCb3R0b20iOjAuMH0sIlBhZGRpbmciOnsiJGlkIjoiMTMyOCIsIlRvcCI6MC4wLCJMZWZ0IjowLjAsIlJpZ2h0IjowLjAsIkJvdHRvbSI6MC4wfSwiQmFja2dyb3VuZCI6eyIkaWQiOiIxMzI5IiwiQ29sb3IiOnsiJGlkIjoiMTMzMCIsIkEiOjYzLCJSIjo2OCwiRyI6MTE0LCJCIjoxOTZ9fSwiSXNWaXNpYmxlIjp0cnVlLCJXaWR0aCI6MC4wLCJIZWlnaHQiOjAuMCwiQm9yZGVyU3R5bGUiOnsiJGlkIjoiMTMzMSIsIkxpbmVDb2xvciI6eyIkaWQiOiIxMzMyIiwiJHR5cGUiOiJOTFJFLkNvbW1vbi5Eb20uU29saWRDb2xvckJydXNoLCBOTFJFLkNvbW1vbiIsIkNvbG9yIjp7IiRpZCI6IjEzMzMiLCJBIjoyNTUsIlIiOjI1NSwiRyI6MCwiQiI6MH19LCJMaW5lV2VpZ2h0IjowLjAsIkxpbmVUeXBlIjowLCJQYXJlbnRTdHlsZSI6bnVsbH0sIlBhcmVudFN0eWxlIjpudWxsfSwiTWFyZ2luIjp7IiRpZCI6IjEzMzQiLCJUb3AiOjAuMCwiTGVmdCI6MC4wLCJSaWdodCI6MC4wLCJCb3R0b20iOjAuMH0sIlBhZGRpbmciOnsiJGlkIjoiMTMzNSIsIlRvcCI6MC4wLCJMZWZ0IjowLjAsIlJpZ2h0IjowLjAsIkJvdHRvbSI6MC4wfSwiQmFja2dyb3VuZCI6bnVsbCwiSXNWaXNpYmxlIjp0cnVlLCJXaWR0aCI6MC4wLCJIZWlnaHQiOjAuMCwiQm9yZGVyU3R5bGUiOm51bGwsIlBhcmVudFN0eWxlIjpudWxsfSwiQmFja2dyb3VuZFN0eWxlIjp7IiRpZCI6IjEzMzYiLCJNYXJnaW4iOnsiJGlkIjoiMTMzNyIsIlRvcCI6MC4wLCJMZWZ0IjowLjAsIlJpZ2h0IjowLjAsIkJvdHRvbSI6MC4wfSwiUGFkZGluZyI6eyIkaWQiOiIxMzM4IiwiVG9wIjowLjAsIkxlZnQiOjAuMCwiUmlnaHQiOjAuMCwiQm90dG9tIjowLjB9LCJCYWNrZ3JvdW5kIjp7IiRpZCI6IjEzMzkiLCJDb2xvciI6eyIkaWQiOiIxMzQwIiwiQSI6NTEsIlIiOjE2NSwiRyI6MTY1LCJCIjoxNjV9fSwiSXNWaXNpYmxlIjp0cnVlLCJXaWR0aCI6MC4wLCJIZWlnaHQiOjAuMCwiQm9yZGVyU3R5bGUiOnsiJGlkIjoiMTM0MSIsIkxpbmVDb2xvciI6eyIkaWQiOiIxMzQyIiwiJHR5cGUiOiJOTFJFLkNvbW1vbi5Eb20uU29saWRDb2xvckJydXNoLCBOTFJFLkNvbW1vbiIsIkNvbG9yIjp7IiRpZCI6IjEzNDMiLCJBIjoyNTUsIlIiOjI1NSwiRyI6MCwiQiI6MH19LCJMaW5lV2VpZ2h0IjowLjAsIkxpbmVUeXBlIjowLCJQYXJlbnRTdHlsZSI6bnVsbH0sIlBhcmVudFN0eWxlIjpudWxsfSwiTWFyZ2luIjp7IiRpZCI6IjEzNDQiLCJUb3AiOjAuMCwiTGVmdCI6MC4wLCJSaWdodCI6MC4wLCJCb3R0b20iOjAuMH0sIlBhZGRpbmciOnsiJGlkIjoiMTM0NSIsIlRvcCI6MC4wLCJMZWZ0IjowLjAsIlJpZ2h0IjowLjAsIkJvdHRvbSI6MC4wfSwiSXNWaXNpYmxlIjpmYWxzZSwiV2lkdGgiOjAuMCwiSGVpZ2h0IjowLjAsIkJvcmRlclN0eWxlIjpudWxsLCJQYXJlbnRTdHlsZSI6bnVsbH19XSwiSWQiOiJhODhmMTQ1ZS00ZDI4LTQ0MjAtYTJiYS1hNjg1YWYwODU1NDYiLCJJbmRleCI6MywiSGVhZGVyVGV4dCI6IkJ1c2luZXNzIEludGVsbGlnZW5jZSIsIlN0eWxlIjp7IiRpZCI6IjEzNDYiLCJIZWFkZXJTdHlsZSI6eyIkaWQiOiIxMzQ3IiwiVGV4dElzVmVydGljYWwiOmZhbHNlLCJUZXh0U3R5bGUiOnsiJGlkIjoiMTM0OCIsIkZvbnRTZXR0aW5ncyI6eyIkaWQiOiIxMzQ5IiwiRm9udFNpemUiOjEyLCJGb250TmFtZSI6IkNhbGlicmkiLCJJc0JvbGQiOnRydWUsIklzSXRhbGljIjpmYWxzZSwiSXNVbmRlcmxpbmVkIjpmYWxzZSwiUGFyZW50U3R5bGUiOm51bGx9LCJBdXRvU2l6ZSI6MCwiRm9yZWdyb3VuZCI6eyIkaWQiOiIxMzUwIiwiQ29sb3IiOnsiJGlkIjoiMTM1MSIsIkEiOjI1NSwiUiI6MjU1LCJHIjoyNTUsIkIiOjI1NX19LCJNYXhXaWR0aCI6MC4wLCJNYXhIZWlnaHQiOjAuMCwiU21hcnRGb3JlZ3JvdW5kSXNBY3RpdmUiOmZhbHNlLCJIb3Jpem9udGFsQWxpZ25tZW50IjowLCJWZXJ0aWNhbEFsaWdubWVudCI6MCwiU21hcnRGb3JlZ3JvdW5kIjpudWxsLCJCYWNrZ3JvdW5kRmlsbFR5cGUiOjAsIk1hcmdpbiI6eyIkcmVmIjoiMzgyIn0sIlBhZGRpbmciOnsiJHJlZiI6IjM4MyJ9LCJCYWNrZ3JvdW5kIjpudWxsLCJJc1Zpc2libGUiOmZhbHNlLCJXaWR0aCI6MC4wLCJIZWlnaHQiOjAuMCwiQm9yZGVyU3R5bGUiOm51bGwsIlBhcmVudFN0eWxlIjpudWxsfSwiUmVjdGFuZ2xlU3R5bGUiOnsiJGlkIjoiMTM1MiIsIk1hcmdpbiI6eyIkcmVmIjoiMzg1In0sIlBhZGRpbmciOnsiJHJlZiI6IjM4NiJ9LCJCYWNrZ3JvdW5kIjp7IiRpZCI6IjEzNTMiLCJDb2xvciI6eyIkaWQiOiIxMzU0IiwiQSI6MjU1LCJSIjo2OCwiRyI6MTE0LCJCIjoxOTZ9fSwiSXNWaXNpYmxlIjpmYWxzZSwiV2lkdGgiOjAuMCwiSGVpZ2h0IjowLjAsIkJvcmRlclN0eWxlIjp7IiRpZCI6IjEzNTUiLCJMaW5lQ29sb3IiOnsiJGlkIjoiMTM1NiIsIiR0eXBlIjoiTkxSRS5Db21tb24uRG9tLlNvbGlkQ29sb3JCcnVzaCwgTkxSRS5Db21tb24iLCJDb2xvciI6eyIkaWQiOiIxMzU3IiwiQSI6MjU1LCJSIjo4OCwiRyI6MzksIkIiOjd9fSwiTGluZVdlaWdodCI6MC4wLCJMaW5lVHlwZSI6MCwiUGFyZW50U3R5bGUiOm51bGx9LCJQYXJlbnRTdHlsZSI6bnVsbH0sIk1hcmdpbiI6eyIkcmVmIjoiMzkyIn0sIlBhZGRpbmciOnsiJHJlZiI6IjM5MyJ9LCJCYWNrZ3JvdW5kIjpudWxsLCJJc1Zpc2libGUiOnRydWUsIldpZHRoIjowLjAsIkhlaWdodCI6MC4wLCJCb3JkZXJTdHlsZSI6bnVsbCwiUGFyZW50U3R5bGUiOm51bGx9LCJCYWNrZ3JvdW5kU3R5bGUiOnsiJGlkIjoiMTM1OCIsIk1hcmdpbiI6eyIkcmVmIjoiMzk1In0sIlBhZGRpbmciOnsiJHJlZiI6IjM5NiJ9LCJCYWNrZ3JvdW5kIjp7IiRpZCI6IjEzNTkiLCJDb2xvciI6eyIkaWQiOiIxMzYwIiwiQSI6MzgsIlIiOjY4LCJHIjoxMTQsIkIiOjE5Nn19LCJJc1Zpc2libGUiOnRydWUsIldpZHRoIjowLjAsIkhlaWdodCI6MC4wLCJCb3JkZXJTdHlsZSI6eyIkaWQiOiIxMzYxIiwiTGluZUNvbG9yIjp7IiRpZCI6IjEzNjIiLCIkdHlwZSI6Ik5MUkUuQ29tbW9uLkRvbS5Tb2xpZENvbG9yQnJ1c2gsIE5MUkUuQ29tbW9uIiwiQ29sb3IiOnsiJGlkIjoiMTM2MyIsIkEiOjI1NSwiUiI6ODgsIkciOjM5LCJCIjo3fX0sIkxpbmVXZWlnaHQiOjAuMCwiTGluZVR5cGUiOjAsIlBhcmVudFN0eWxlIjpudWxsfSwiUGFyZW50U3R5bGUiOm51bGx9LCJJc0Fib3ZlVGltZWJhbmQiOmZhbHNlLCJNYXJnaW4iOnsiJGlkIjoiMTM2NCIsIlRvcCI6MC4wLCJMZWZ0IjowLjAsIlJpZ2h0IjowLjAsIkJvdHRvbSI6MC4wfSwiUGFkZGluZyI6eyIkaWQiOiIxMzY1IiwiVG9wIjowLjAsIkxlZnQiOjAuMCwiUmlnaHQiOjAuMCwiQm90dG9tIjowLjB9LCJJc1Zpc2libGUiOnRydWUsIldpZHRoIjowLjAsIkhlaWdodCI6MC4wLCJCb3JkZXJTdHlsZSI6eyIkaWQiOiIxMzY2IiwiTGluZUNvbG9yIjpudWxsLCJMaW5lV2VpZ2h0IjowLjAsIkxpbmVUeXBlIjowLCJQYXJlbnRTdHlsZSI6bnVsbH0sIlBhcmVudFN0eWxlIjpudWxsfX1dLCJDdWx0dXJlSW5mb05hbWUiOiJlbi1VUyIsIlN0eWxlTmFtZSI6bnVsbCwiVmVyc2lvbiI6eyIkaWQiOiIxMzY3IiwiVmVyc2lvbiI6IjMuNi4xIiwiT3JpZ2luYWxBc3NlbWJseVZlcnNpb24iOiIzLjIwLjA0LjAwIiwiRWRpdGlvbiI6IlBybyIsIkxhc3RTYXZlZEVkaXRpb24iOjMsIklzUGx1c0VkaXRpb24iOnRydWUsIklzUHJvRWRpdGlvbiI6dHJ1ZX0sIkVmZmVjdCI6MCwiU3R5bGUiOnsiJGlkIjoiMTM2OCIsIlRpbWViYW5kU3R5bGUiOnsiJGlkIjoiMTM2OSIsIlNjYWxlTWFya2luZyI6MCwiU2hhcGUiOjAsIlNoYXBlU3R5bGUiOnsiJGlkIjoiMTM3MCIsIk1hcmdpbiI6eyIkaWQiOiIxMzcxIiwiVG9wIjowLjAsIkxlZnQiOjEyLjAsIlJpZ2h0IjoxMi4wLCJCb3R0b20iOjAuMH0sIlBhZGRpbmciOnsiJGlkIjoiMTM3MiIsIlRvcCI6Ny4wLCJMZWZ0IjowLjAsIlJpZ2h0IjowLjAsIkJvdHRvbSI6Ny4wfSwiQmFja2dyb3VuZCI6eyIkaWQiOiIxMzczIiwiQ29sb3IiOnsiJGlkIjoiMTM3NCIsIkEiOjI1NSwiUiI6NjQsIkciOjY0LCJCIjo2NH19LCJJc1Zpc2libGUiOnRydWUsIldpZHRoIjo4NTguMCwiSGVpZ2h0IjozMC4wLCJCb3JkZXJTdHlsZSI6eyIkaWQiOiIxMzc1IiwiTGluZUNvbG9yIjp7IiRpZCI6IjEzNzYiLCIkdHlwZSI6Ik5MUkUuQ29tbW9uLkRvbS5Tb2xpZENvbG9yQnJ1c2gsIE5MUkUuQ29tbW9uIiwiQ29sb3IiOnsiJGlkIjoiMTM3NyIsIkEiOjI1NSwiUiI6MjU1LCJHIjowLCJCIjowfX0sIkxpbmVXZWlnaHQiOjAuMCwiTGluZVR5cGUiOjAsIlBhcmVudFN0eWxlIjpudWxsfSwiUGFyZW50U3R5bGUiOm51bGx9LCJNaWRkbGVUaWVyU2hhcGVTdHlsZSI6eyIkaWQiOiIxMzc4IiwiTWFyZ2luIjp7IiRyZWYiOiIxMzcxIn0sIlBhZGRpbmciOnsiJHJlZiI6IjEzNzIifSwiQmFja2dyb3VuZCI6eyIkcmVmIjoiMTM3MyJ9LCJJc1Zpc2libGUiOnRydWUsIldpZHRoIjo4NTguMCwiSGVpZ2h0IjozMC4wLCJCb3JkZXJTdHlsZSI6bnVsbCwiUGFyZW50U3R5bGUiOm51bGx9LCJCb3R0b21UaWVyU2hhcGVTdHlsZSI6eyIkaWQiOiIxMzc5IiwiTWFyZ2luIjp7IiRyZWYiOiIxMzcxIn0sIlBhZGRpbmciOnsiJHJlZiI6IjEzNzIifSwiQmFja2dyb3VuZCI6eyIkcmVmIjoiMTM3MyJ9LCJJc1Zpc2libGUiOnRydWUsIldpZHRoIjo4NTguMCwiSGVpZ2h0IjozMC4wLCJCb3JkZXJTdHlsZSI6bnVsbCwiUGFyZW50U3R5bGUiOm51bGx9LCJSaWdodEVuZENhcHNTdHlsZSI6eyIkaWQiOiIxMzgwIiwiRm9udFNldHRpbmdzIjp7IiRpZCI6IjEzODEiLCJGb250U2l6ZSI6MSwiRm9udE5hbWUiOiJDYWxpYnJpIiwiSXNCb2xkIjp0cnVlLCJJc0l0YWxpYyI6ZmFsc2UsIklzVW5kZXJsaW5lZCI6ZmFsc2UsIlBhcmVudFN0eWxlIjpudWxsfSwiQXV0b1NpemUiOjAsIkZvcmVncm91bmQiOnsiJGlkIjoiMTM4MiIsIkNvbG9yIjp7IiRpZCI6IjEzODM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EzODQiLCJUb3AiOjAuMCwiTGVmdCI6MC4wLCJSaWdodCI6MjUuMCwiQm90dG9tIjowLjB9LCJQYWRkaW5nIjp7IiRpZCI6IjEzODUiLCJUb3AiOjAuMCwiTGVmdCI6MC4wLCJSaWdodCI6MC4wLCJCb3R0b20iOjAuMH0sIkJhY2tncm91bmQiOnsiJGlkIjoiMTM4NiIsIkNvbG9yIjp7IiRyZWYiOiIxNTMifX0sIklzVmlzaWJsZSI6ZmFsc2UsIldpZHRoIjowLjAsIkhlaWdodCI6MC4wLCJCb3JkZXJTdHlsZSI6bnVsbCwiUGFyZW50U3R5bGUiOm51bGx9LCJMZWZ0RW5kQ2Fwc1N0eWxlIjp7IiRpZCI6IjEzODciLCJGb250U2V0dGluZ3MiOnsiJGlkIjoiMTM4OCIsIkZvbnRTaXplIjozMiwiRm9udE5hbWUiOiJDYWxpYnJpIiwiSXNCb2xkIjp0cnVlLCJJc0l0YWxpYyI6ZmFsc2UsIklzVW5kZXJsaW5lZCI6ZmFsc2UsIlBhcmVudFN0eWxlIjpudWxsfSwiQXV0b1NpemUiOjAsIkZvcmVncm91bmQiOnsiJGlkIjoiMTM4OSIsIkNvbG9yIjp7IiRpZCI6IjEzOTA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EzOTEiLCJUb3AiOjAuMCwiTGVmdCI6MjUuMCwiUmlnaHQiOjAuMCwiQm90dG9tIjowLjB9LCJQYWRkaW5nIjp7IiRpZCI6IjEzOTIiLCJUb3AiOjAuMCwiTGVmdCI6MC4wLCJSaWdodCI6MC4wLCJCb3R0b20iOjAuMH0sIkJhY2tncm91bmQiOnsiJGlkIjoiMTM5MyIsIkNvbG9yIjp7IiRyZWYiOiIxNTMifX0sIklzVmlzaWJsZSI6ZmFsc2UsIldpZHRoIjowLjAsIkhlaWdodCI6MC4wLCJCb3JkZXJTdHlsZSI6bnVsbCwiUGFyZW50U3R5bGUiOm51bGx9LCJUb2RheVRleHRTdHlsZSI6eyIkaWQiOiIxMzk0IiwiRm9udFNldHRpbmdzIjp7IiRpZCI6IjEzOTUiLCJGb250U2l6ZSI6MTIsIkZvbnROYW1lIjoiQ2FsaWJyaSIsIklzQm9sZCI6ZmFsc2UsIklzSXRhbGljIjpmYWxzZSwiSXNVbmRlcmxpbmVkIjpmYWxzZSwiUGFyZW50U3R5bGUiOm51bGx9LCJBdXRvU2l6ZSI6MCwiRm9yZWdyb3VuZCI6eyIkaWQiOiIxMzk2IiwiQ29sb3IiOnsiJGlkIjoiMTM5NyIsIkEiOjI1NSwiUiI6MCwiRyI6MCwiQiI6MH19LCJNYXhXaWR0aCI6MjAwLjAsIk1heEhlaWdodCI6IkluZmluaXR5IiwiU21hcnRGb3JlZ3JvdW5kSXNBY3RpdmUiOmZhbHNlLCJIb3Jpem9udGFsQWxpZ25tZW50IjowLCJWZXJ0aWNhbEFsaWdubWVudCI6MCwiU21hcnRGb3JlZ3JvdW5kIjpudWxsLCJCYWNrZ3JvdW5kRmlsbFR5cGUiOjAsIk1hcmdpbiI6eyIkaWQiOiIxMzk4IiwiVG9wIjowLjAsIkxlZnQiOjAuMCwiUmlnaHQiOjAuMCwiQm90dG9tIjowLjB9LCJQYWRkaW5nIjp7IiRpZCI6IjEzOTkiLCJUb3AiOjAuMCwiTGVmdCI6MC4wLCJSaWdodCI6MC4wLCJCb3R0b20iOjAuMH0sIkJhY2tncm91bmQiOnsiJGlkIjoiMTQwMCIsIkNvbG9yIjp7IiRyZWYiOiIxNTMifX0sIklzVmlzaWJsZSI6dHJ1ZSwiV2lkdGgiOjAuMCwiSGVpZ2h0IjowLjAsIkJvcmRlclN0eWxlIjpudWxsLCJQYXJlbnRTdHlsZSI6bnVsbH0sIlRvZGF5TWFya2VyU3R5bGUiOnsiJGlkIjoiMTQwMSIsIk1hcmdpbiI6eyIkaWQiOiIxNDAyIiwiVG9wIjowLjAsIkxlZnQiOjAuMCwiUmlnaHQiOjAuMCwiQm90dG9tIjowLjB9LCJQYWRkaW5nIjp7IiRpZCI6IjE0MDMiLCJUb3AiOjAuMCwiTGVmdCI6MC4wLCJSaWdodCI6MC4wLCJCb3R0b20iOjAuMH0sIkJhY2tncm91bmQiOnsiJGlkIjoiMTQwNCIsIkNvbG9yIjp7IiRpZCI6IjE0MDUiLCJBIjoyNTUsIlIiOjI1NSwiRyI6MCwiQiI6MH19LCJJc1Zpc2libGUiOnRydWUsIldpZHRoIjowLjAsIkhlaWdodCI6MC4wLCJCb3JkZXJTdHlsZSI6bnVsbCwiUGFyZW50U3R5bGUiOm51bGx9LCJTY2FsZVN0eWxlIjp7IiRpZCI6IjE0MDYiLCJTaGFwZSI6MCwiU2hvd1NlZ21lbnRTZXBhcmF0b3JzIjp0cnVlLCJTZWdtZW50U2VwYXJhdG9yT3BhY2l0eSI6MzAsIkhhc0JlZW5WaXNpYmxlQmVmb3JlIjp0cnVlLCJGb250U2V0dGluZ3MiOnsiJGlkIjoiMTQwNyIsIkZvbnRTaXplIjoxNCwiRm9udE5hbWUiOiJDYWxpYnJpIiwiSXNCb2xkIjpmYWxzZSwiSXNJdGFsaWMiOmZhbHNlLCJJc1VuZGVybGluZWQiOmZhbHNlLCJQYXJlbnRTdHlsZSI6bnVsbH0sIkF1dG9TaXplIjowLCJGb3JlZ3JvdW5kIjp7IiRpZCI6IjE0MDgiLCJDb2xvciI6eyIkaWQiOiIxNDA5IiwiQSI6MjU1LCJSIjoyNTUsIkciOjI1NSwiQiI6MjU1fX0sIk1heFdpZHRoIjoyMDAuMCwiTWF4SGVpZ2h0IjoiSW5maW5pdHkiLCJTbWFydEZvcmVncm91bmRJc0FjdGl2ZSI6ZmFsc2UsIkhvcml6b250YWxBbGlnbm1lbnQiOjAsIlZlcnRpY2FsQWxpZ25tZW50IjoxLCJTbWFydEZvcmVncm91bmQiOm51bGwsIkJhY2tncm91bmRGaWxsVHlwZSI6MCwiTWFyZ2luIjp7IiRpZCI6IjE0MTAiLCJUb3AiOjAuMCwiTGVmdCI6NS4wLCJSaWdodCI6MC4wLCJCb3R0b20iOjAuMH0sIlBhZGRpbmciOnsiJGlkIjoiMTQxMSIsIlRvcCI6MC4wLCJMZWZ0IjowLjAsIlJpZ2h0IjowLjAsIkJvdHRvbSI6MC4wfSwiQmFja2dyb3VuZCI6eyIkaWQiOiIxNDEyIiwiQ29sb3IiOnsiJHJlZiI6IjE1MyJ9fSwiSXNWaXNpYmxlIjp0cnVlLCJXaWR0aCI6MC4wLCJIZWlnaHQiOjAuMCwiQm9yZGVyU3R5bGUiOm51bGwsIlBhcmVudFN0eWxlIjpudWxsfSwiU2luZ2xlU2NhbGVTaGFwZVN0eWxlIjp7IiRpZCI6IjE0MTMiLCJTaGFwZSI6MCwiSGVpZ2h0IjozMC4wfSwiTWlkZGxlVGllclNjYWxlU3R5bGUiOnsiJGlkIjoiMTQxNCIsIlNoYXBlIjowLCJTaG93U2VnbWVudFNlcGFyYXRvcnMiOnRydWUsIlNlZ21lbnRTZXBhcmF0b3JPcGFjaXR5IjozMCwiSGFzQmVlblZpc2libGVCZWZvcmUiOmZhbHNlLCJGb250U2V0dGluZ3MiOnsiJGlkIjoiMTQxNSIsIkZvbnRTaXplIjoxNCwiRm9udE5hbWUiOiJDYWxpYnJpIiwiSXNCb2xkIjpmYWxzZSwiSXNJdGFsaWMiOmZhbHNlLCJJc1VuZGVybGluZWQiOmZhbHNlLCJQYXJlbnRTdHlsZSI6bnVsbH0sIkF1dG9TaXplIjowLCJGb3JlZ3JvdW5kIjp7IiRyZWYiOiIxNDA4In0sIk1heFdpZHRoIjoyMDAuMCwiTWF4SGVpZ2h0IjoiSW5maW5pdHkiLCJTbWFydEZvcmVncm91bmRJc0FjdGl2ZSI6ZmFsc2UsIkhvcml6b250YWxBbGlnbm1lbnQiOjAsIlZlcnRpY2FsQWxpZ25tZW50IjoxLCJTbWFydEZvcmVncm91bmQiOm51bGwsIkJhY2tncm91bmRGaWxsVHlwZSI6MCwiTWFyZ2luIjp7IiRyZWYiOiIxNDEwIn0sIlBhZGRpbmciOnsiJHJlZiI6IjE0MTEifSwiQmFja2dyb3VuZCI6eyIkcmVmIjoiMTQxMiJ9LCJJc1Zpc2libGUiOmZhbHNlLCJXaWR0aCI6MC4wLCJIZWlnaHQiOjAuMCwiQm9yZGVyU3R5bGUiOm51bGwsIlBhcmVudFN0eWxlIjpudWxsfSwiQm90dG9tVGllclNjYWxlU3R5bGUiOnsiJGlkIjoiMTQxNiIsIlNoYXBlIjowLCJTaG93U2VnbWVudFNlcGFyYXRvcnMiOnRydWUsIlNlZ21lbnRTZXBhcmF0b3JPcGFjaXR5IjozMCwiSGFzQmVlblZpc2libGVCZWZvcmUiOmZhbHNlLCJGb250U2V0dGluZ3MiOnsiJGlkIjoiMTQxNyIsIkZvbnRTaXplIjoxNCwiRm9udE5hbWUiOiJDYWxpYnJpIiwiSXNCb2xkIjpmYWxzZSwiSXNJdGFsaWMiOmZhbHNlLCJJc1VuZGVybGluZWQiOmZhbHNlLCJQYXJlbnRTdHlsZSI6bnVsbH0sIkF1dG9TaXplIjowLCJGb3JlZ3JvdW5kIjp7IiRyZWYiOiIxNDA4In0sIk1heFdpZHRoIjoyMDAuMCwiTWF4SGVpZ2h0IjoiSW5maW5pdHkiLCJTbWFydEZvcmVncm91bmRJc0FjdGl2ZSI6ZmFsc2UsIkhvcml6b250YWxBbGlnbm1lbnQiOjAsIlZlcnRpY2FsQWxpZ25tZW50IjoxLCJTbWFydEZvcmVncm91bmQiOm51bGwsIkJhY2tncm91bmRGaWxsVHlwZSI6MCwiTWFyZ2luIjp7IiRyZWYiOiIxNDEwIn0sIlBhZGRpbmciOnsiJHJlZiI6IjE0MTEifSwiQmFja2dyb3VuZCI6eyIkcmVmIjoiMTQxMiJ9LCJJc1Zpc2libGUiOmZhbHNlLCJXaWR0aCI6MC4wLCJIZWlnaHQiOjAuMCwiQm9yZGVyU3R5bGUiOm51bGwsIlBhcmVudFN0eWxlIjpudWxsfSwiRWxhcHNlZFRpbWVCYWNrZ3JvdW5kIjp7IiRpZCI6IjE0MTgiLCJDb2xvciI6eyIkaWQiOiIxNDE5IiwiQSI6MTkxLCJSIjoyNTUsIkciOjAsIkIiOjB9fSwiQXBwZW5kWWVhck9uWWVhckNoYW5nZSI6dHJ1ZSwiRWxhcHNlZFRpbWVGb3JtYXQiOjIsIlRvZGF5TWFya2VyUG9zaXRpb24iOjAsIlF1aWNrUG9zaXRpb24iOjMsIkFic29sdXRlUG9zaXRpb24iOjk3LjIwMDAwNDYsIk1hcmdpbiI6eyIkaWQiOiIxNDIwIiwiVG9wIjowLjAsIkxlZnQiOjEwLjAsIlJpZ2h0IjoxMC4wLCJCb3R0b20iOjAuMH0sIlBhZGRpbmciOnsiJGlkIjoiMTQyMSIsIlRvcCI6MC4wLCJMZWZ0IjowLjAsIlJpZ2h0IjowLjAsIkJvdHRvbSI6MC4wfSwiQmFja2dyb3VuZCI6eyIkaWQiOiIxNDIyIiwiQ29sb3IiOnsiJGlkIjoiMTQyMyIsIkEiOjI1NSwiUiI6NDcsIkciOjU0LCJCIjoxNTN9fSwiSXNWaXNpYmxlIjp0cnVlLCJXaWR0aCI6MC4wLCJIZWlnaHQiOjAuMCwiQm9yZGVyU3R5bGUiOm51bGwsIlBhcmVudFN0eWxlIjpudWxsfSwiRGVmYXVsdE1pbGVzdG9uZVN0eWxlIjp7IiRpZCI6IjE0MjQiLCJTaGFwZSI6MCwiQ29ubmVjdG9yTWFyZ2luIjp7IiRpZCI6IjE0MjUiLCJUb3AiOjAuMCwiTGVmdCI6Mi4wLCJSaWdodCI6Mi4wLCJCb3R0b20iOjAuMH0sIkNvbm5lY3RvclN0eWxlIjp7IiRpZCI6IjE0MjYiLCJMaW5lQ29sb3IiOnsiJGlkIjoiMTQyNyIsIiR0eXBlIjoiTkxSRS5Db21tb24uRG9tLlNvbGlkQ29sb3JCcnVzaCwgTkxSRS5Db21tb24iLCJDb2xvciI6eyIkaWQiOiIxNDI4IiwiQSI6MTI3LCJSIjo3OSwiRyI6MTI5LCJCIjoxODl9fSwiTGluZVdlaWdodCI6MS4wLCJMaW5lVHlwZSI6MCwiUGFyZW50U3R5bGUiOm51bGx9LCJJc0JlbG93VGltZWJhbmQiOmZhbHNlLCJQb3NpdGlvbk9uVGFzayI6MCwiSGlkZURhdGUiOmZhbHNlLCJTaGFwZVNpemUiOjEsIlNwYWNpbmciOjEuMCwiUGFkZGluZyI6eyIkaWQiOiIxNDI5IiwiVG9wIjo3LjAsIkxlZnQiOjMuMCwiUmlnaHQiOjAuMCwiQm90dG9tIjoyLjB9LCJTaGFwZVN0eWxlIjp7IiRpZCI6IjE0MzAiLCJNYXJnaW4iOnsiJHJlZiI6IjI3NyJ9LCJQYWRkaW5nIjp7IiRyZWYiOiIyNzgifSwiQmFja2dyb3VuZCI6eyIkaWQiOiIxNDMxIiwiQ29sb3IiOnsiJGlkIjoiMTQzMiIsIkEiOjI1NSwiUiI6MCwiRyI6MTE0LCJCIjoxODh9fSwiSXNWaXNpYmxlIjp0cnVlLCJXaWR0aCI6MTguMCwiSGVpZ2h0IjoyMC4wLCJCb3JkZXJTdHlsZSI6eyIkaWQiOiIxNDMzIiwiTGluZUNvbG9yIjp7IiRpZCI6IjE0MzQiLCIkdHlwZSI6Ik5MUkUuQ29tbW9uLkRvbS5Tb2xpZENvbG9yQnJ1c2gsIE5MUkUuQ29tbW9uIiwiQ29sb3IiOnsiJGlkIjoiMTQzNSIsIkEiOjI1NSwiUiI6MjU1LCJHIjowLCJCIjowfX0sIkxpbmVXZWlnaHQiOjAuMCwiTGluZVR5cGUiOjAsIlBhcmVudFN0eWxlIjpudWxsfSwiUGFyZW50U3R5bGUiOm51bGx9LCJUaXRsZVN0eWxlIjp7IiRpZCI6IjE0MzYiLCJGb250U2V0dGluZ3MiOnsiJGlkIjoiMTQzNyIsIkZvbnRTaXplIjoxMSwiRm9udE5hbWUiOiJDYWxpYnJpIiwiSXNCb2xkIjp0cnVlLCJJc0l0YWxpYyI6ZmFsc2UsIklzVW5kZXJsaW5lZCI6ZmFsc2UsIlBhcmVudFN0eWxlIjpudWxsfSwiQXV0b1NpemUiOjAsIkZvcmVncm91bmQiOnsiJGlkIjoiMTQzOCIsIkNvbG9yIjp7IiRpZCI6IjE0Mzk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I4NiJ9LCJQYWRkaW5nIjp7IiRyZWYiOiIyODcifSwiQmFja2dyb3VuZCI6eyIkcmVmIjoiMTI5MyJ9LCJJc1Zpc2libGUiOnRydWUsIldpZHRoIjowLjAsIkhlaWdodCI6MC4wLCJCb3JkZXJTdHlsZSI6bnVsbCwiUGFyZW50U3R5bGUiOm51bGx9LCJEYXRlU3R5bGUiOnsiJGlkIjoiMTQ0MCIsIkZvbnRTZXR0aW5ncyI6eyIkaWQiOiIxNDQxIiwiRm9udFNpemUiOjEwLCJGb250TmFtZSI6IkNhbGlicmkiLCJJc0JvbGQiOmZhbHNlLCJJc0l0YWxpYyI6ZmFsc2UsIklzVW5kZXJsaW5lZCI6ZmFsc2UsIlBhcmVudFN0eWxlIjpudWxsfSwiQXV0b1NpemUiOjAsIkZvcmVncm91bmQiOnsiJHJlZiI6IjEyOTYifSwiTWF4V2lkdGgiOjIwMC4wLCJNYXhIZWlnaHQiOiJJbmZpbml0eSIsIlNtYXJ0Rm9yZWdyb3VuZElzQWN0aXZlIjpmYWxzZSwiSG9yaXpvbnRhbEFsaWdubWVudCI6MCwiVmVydGljYWxBbGlnbm1lbnQiOjAsIlNtYXJ0Rm9yZWdyb3VuZCI6bnVsbCwiQmFja2dyb3VuZEZpbGxUeXBlIjowLCJNYXJnaW4iOnsiJHJlZiI6IjI5NSJ9LCJQYWRkaW5nIjp7IiRyZWYiOiIyOTYifSwiQmFja2dyb3VuZCI6eyIkcmVmIjoiMTI5OCJ9LCJJc1Zpc2libGUiOmZhbHNlLCJXaWR0aCI6MC4wLCJIZWlnaHQiOjAuMCwiQm9yZGVyU3R5bGUiOm51bGwsIlBhcmVudFN0eWxlIjpudWxsfSwiRGF0ZUZvcm1hdCI6eyIkcmVmIjoiMTMxNSJ9LCJXZWVrTnVtYmVyaW5nIjp7IiRpZCI6IjE0NDIiLCJGb3JtYXQiOjAsIklzVmlzaWJsZSI6ZmFsc2UsIkxhc3RLbm93blZpc2liaWxpdHlTdGF0ZSI6ZmFsc2V9LCJJc1Zpc2libGUiOnRydWUsIlBhcmVudFN0eWxlIjpudWxsfSwiRGVmYXVsdFRhc2tTdHlsZSI6eyIkaWQiOiIxNDQzIiwiU2hhcGUiOjcsIlNoYXBlVGhpY2tuZXNzIjowLCJEdXJhdGlvbkZvcm1hdCI6NSwiSW5jbHVkZU5vbldvcmtpbmdEYXlzSW5EdXJhdGlvbiI6ZmFsc2UsIlBlcmNlbnRhZ2VDb21wbGV0ZVN0eWxlIjp7IiRpZCI6IjE0NDQiLCJGb250U2V0dGluZ3MiOnsiJGlkIjoiMTQ0NSIsIkZvbnRTaXplIjoxMCwiRm9udE5hbWUiOiJDYWxpYnJpIiwiSXNCb2xkIjpmYWxzZSwiSXNJdGFsaWMiOmZhbHNlLCJJc1VuZGVybGluZWQiOmZhbHNlLCJQYXJlbnRTdHlsZSI6bnVsbH0sIkF1dG9TaXplIjowLCJGb3JlZ3JvdW5kIjp7IiRyZWYiOiIxNDgifSwiTWF4V2lkdGgiOjIwMC4wLCJNYXhIZWlnaHQiOiJJbmZpbml0eSIsIlNtYXJ0Rm9yZWdyb3VuZElzQWN0aXZlIjpmYWxzZSwiSG9yaXpvbnRhbEFsaWdubWVudCI6MCwiVmVydGljYWxBbGlnbm1lbnQiOjAsIlNtYXJ0Rm9yZWdyb3VuZCI6bnVsbCwiQmFja2dyb3VuZEZpbGxUeXBlIjowLCJNYXJnaW4iOnsiJHJlZiI6IjE1MCJ9LCJQYWRkaW5nIjp7IiRyZWYiOiIxNTEifSwiQmFja2dyb3VuZCI6eyIkcmVmIjoiMTUyIn0sIklzVmlzaWJsZSI6dHJ1ZSwiV2lkdGgiOjAuMCwiSGVpZ2h0IjowLjAsIkJvcmRlclN0eWxlIjpudWxsLCJQYXJlbnRTdHlsZSI6bnVsbH0sIkR1cmF0aW9uU3R5bGUiOnsiJGlkIjoiMTQ0NiIsIkZvbnRTZXR0aW5ncyI6eyIkaWQiOiIxNDQ3IiwiRm9udFNpemUiOjEwLCJGb250TmFtZSI6IkNhbGlicmkiLCJJc0JvbGQiOmZhbHNlLCJJc0l0YWxpYyI6ZmFsc2UsIklzVW5kZXJsaW5lZCI6ZmFsc2UsIlBhcmVudFN0eWxlIjpudWxsfSwiQXV0b1NpemUiOjAsIkZvcmVncm91bmQiOnsiJHJlZiI6IjE1NyJ9LCJNYXhXaWR0aCI6MjAwLjAsIk1heEhlaWdodCI6IkluZmluaXR5IiwiU21hcnRGb3JlZ3JvdW5kSXNBY3RpdmUiOmZhbHNlLCJIb3Jpem9udGFsQWxpZ25tZW50IjowLCJWZXJ0aWNhbEFsaWdubWVudCI6MCwiU21hcnRGb3JlZ3JvdW5kIjpudWxsLCJCYWNrZ3JvdW5kRmlsbFR5cGUiOjAsIk1hcmdpbiI6eyIkcmVmIjoiMTU5In0sIlBhZGRpbmciOnsiJHJlZiI6IjE2MCJ9LCJCYWNrZ3JvdW5kIjp7IiRyZWYiOiIxNjEifSwiSXNWaXNpYmxlIjp0cnVlLCJXaWR0aCI6MC4wLCJIZWlnaHQiOjAuMCwiQm9yZGVyU3R5bGUiOm51bGwsIlBhcmVudFN0eWxlIjpudWxsfSwiSG9yaXpvbnRhbENvbm5lY3RvclN0eWxlIjp7IiRpZCI6IjE0NDgiLCJMaW5lQ29sb3IiOnsiJHJlZiI6IjE2NCJ9LCJMaW5lV2VpZ2h0IjoxLjAsIkxpbmVUeXBlIjowLCJQYXJlbnRTdHlsZSI6bnVsbH0sIlZlcnRpY2FsQ29ubmVjdG9yU3R5bGUiOnsiJGlkIjoiMTQ0OSIsIkxpbmVDb2xvciI6eyIkcmVmIjoiMTY3In0sIkxpbmVXZWlnaHQiOjAuMCwiTGluZVR5cGUiOjAsIlBhcmVudFN0eWxlIjpudWxsfSwiTWFyZ2luIjpudWxsLCJTdGFydERhdGVQb3NpdGlvbiI6NiwiRW5kRGF0ZVBvc2l0aW9uIjo2LCJEYXRlSXNWaXNpYmxlIjpmYWxzZSwiVGl0bGVQb3NpdGlvbiI6NSwiRHVyYXRpb25Qb3NpdGlvbiI6NiwiUGVyY2VudGFnZUNvbXBsZXRlZFBvc2l0aW9uIjo2LCJTcGFjaW5nIjozLCJJc0JlbG93VGltZWJhbmQiOnRydWUsIlBlcmNlbnRhZ2VDb21wbGV0ZVNoYXBlT3BhY2l0eSI6MzUsIlNoYXBlU3R5bGUiOnsiJGlkIjoiMTQ1MCIsIk1hcmdpbiI6eyIkcmVmIjoiMTcwIn0sIlBhZGRpbmciOnsiJHJlZiI6IjE3MSJ9LCJCYWNrZ3JvdW5kIjp7IiRpZCI6IjE0NTEiLCJDb2xvciI6eyIkaWQiOiIxNDUyIiwiQSI6MjU1LCJSIjowLCJHIjoxMTQsIkIiOjE4OH19LCJJc1Zpc2libGUiOnRydWUsIldpZHRoIjowLjAsIkhlaWdodCI6MTAuMCwiQm9yZGVyU3R5bGUiOnsiJGlkIjoiMTQ1MyIsIkxpbmVDb2xvciI6eyIkaWQiOiIxNDU0IiwiJHR5cGUiOiJOTFJFLkNvbW1vbi5Eb20uU29saWRDb2xvckJydXNoLCBOTFJFLkNvbW1vbiIsIkNvbG9yIjp7IiRpZCI6IjE0NTUiLCJBIjoyNTUsIlIiOjI1NSwiRyI6MCwiQiI6MH19LCJMaW5lV2VpZ2h0IjowLjAsIkxpbmVUeXBlIjowLCJQYXJlbnRTdHlsZSI6bnVsbH0sIlBhcmVudFN0eWxlIjpudWxsfSwiVGl0bGVTdHlsZSI6eyIkaWQiOiIxNDU2IiwiRm9udFNldHRpbmdzIjp7IiRpZCI6IjE0NTciLCJGb250U2l6ZSI6MTEsIkZvbnROYW1lIjoiQ2FsaWJyaSIsIklzQm9sZCI6dHJ1ZSwiSXNJdGFsaWMiOmZhbHNlLCJJc1VuZGVybGluZWQiOmZhbHNlLCJQYXJlbnRTdHlsZSI6bnVsbH0sIkF1dG9TaXplIjowLCJGb3JlZ3JvdW5kIjp7IiRpZCI6IjE0NTgiLCJDb2xvciI6eyIkaWQiOiIxNDU5IiwiQSI6MjU1LCJSIjowLCJHIjowLCJCIjowfX0sIk1heFdpZHRoIjo5NjAuMCwiTWF4SGVpZ2h0IjoiSW5maW5pdHkiLCJTbWFydEZvcmVncm91bmRJc0FjdGl2ZSI6ZmFsc2UsIkhvcml6b250YWxBbGlnbm1lbnQiOjAsIlZlcnRpY2FsQWxpZ25tZW50IjowLCJTbWFydEZvcmVncm91bmQiOm51bGwsIkJhY2tncm91bmRGaWxsVHlwZSI6MCwiTWFyZ2luIjp7IiRyZWYiOiIxODEifSwiUGFkZGluZyI6eyIkcmVmIjoiMTgyIn0sIkJhY2tncm91bmQiOnsiJGlkIjoiMTQ2MCIsIkNvbG9yIjp7IiRyZWYiOiIxNTMifX0sIklzVmlzaWJsZSI6dHJ1ZSwiV2lkdGgiOjAuMCwiSGVpZ2h0IjowLjAsIkJvcmRlclN0eWxlIjpudWxsLCJQYXJlbnRTdHlsZSI6bnVsbH0sIkRhdGVTdHlsZSI6eyIkaWQiOiIxNDYxIiwiRm9udFNldHRpbmdzIjp7IiRpZCI6IjE0NjIiLCJGb250U2l6ZSI6MTAsIkZvbnROYW1lIjoiQ2FsaWJyaSIsIklzQm9sZCI6ZmFsc2UsIklzSXRhbGljIjpmYWxzZSwiSXNVbmRlcmxpbmVkIjpmYWxzZSwiUGFyZW50U3R5bGUiOm51bGx9LCJBdXRvU2l6ZSI6MCwiRm9yZWdyb3VuZCI6eyIkcmVmIjoiODYifSwiTWF4V2lkdGgiOjIwMC4wLCJNYXhIZWlnaHQiOiJJbmZpbml0eSIsIlNtYXJ0Rm9yZWdyb3VuZElzQWN0aXZlIjpmYWxzZSwiSG9yaXpvbnRhbEFsaWdubWVudCI6MCwiVmVydGljYWxBbGlnbm1lbnQiOjAsIlNtYXJ0Rm9yZWdyb3VuZCI6bnVsbCwiQmFja2dyb3VuZEZpbGxUeXBlIjowLCJNYXJnaW4iOnsiJHJlZiI6IjE4OCJ9LCJQYWRkaW5nIjp7IiRyZWYiOiIxODkifSwiQmFja2dyb3VuZCI6eyIkcmVmIjoiMTkwIn0sIklzVmlzaWJsZSI6dHJ1ZSwiV2lkdGgiOjAuMCwiSGVpZ2h0IjowLjAsIkJvcmRlclN0eWxlIjpudWxsLCJQYXJlbnRTdHlsZSI6bnVsbH0sIkRhdGVGb3JtYXQiOnsiJGlkIjoiMTQ2MyIsIkZvcm1hdFN0cmluZyI6Ik1NTSBkIiwiU2VwYXJhdG9yIjoiLyIsIlVzZUludGVybmF0aW9uYWxEYXRlRm9ybWF0IjpmYWxzZSwiRGF0ZUlzVmlzaWJsZSI6dHJ1ZSwiVGltZUlzVmlzaWJsZSI6ZmFsc2UsIkhvdXJEaWdpdHMiOjEsIkFtUG1EZXNpZ25hdG9yIjoyLCJUcmltMDBNaW51dGVzIjpmYWxzZSwiTGFzdEtub3duVmlzaWJpbGl0eVN0YXRlIjpudWxsfSwiV2Vla051bWJlcmluZyI6eyIkaWQiOiIxNDY0IiwiRm9ybWF0IjowLCJJc1Zpc2libGUiOmZhbHNlLCJMYXN0S25vd25WaXNpYmlsaXR5U3RhdGUiOmZhbHNlfSwiSXNWaXNpYmxlIjp0cnVlLCJQYXJlbnRTdHlsZSI6bnVsbCwiX2V4cGxpY2l0bHlTZXQiOnsiJGlkIjoiMTQ2NSIsIlNoYXBlU3R5bGUiOmZhbHNlLCJUaXRsZVN0eWxlIjpmYWxzZSwiRGF0ZVN0eWxlIjpmYWxzZSwiSG9yaXpvbnRhbENvbm5lY3RvclN0eWxlIjpmYWxzZSwiVmVydGljYWxDb25uZWN0b3JTdHlsZSI6ZmFsc2UsIlBlcmNlbnRhZ2VDb21wbGV0ZVNoYXBlT3BhY2l0eSI6ZmFsc2UsIlNoYXBlIjpmYWxzZSwiU2hhcGVUaGlja25lc3MiOmZhbHNlLCJEdXJhdGlvbkZvcm1hdCI6ZmFsc2UsIkluY2x1ZGVOb25Xb3JraW5nRGF5c0luRHVyYXRpb24iOmZhbHNlLCJNYXJnaW4iOmZhbHNlLCJTdGFydERhdGVQb3NpdGlvbiI6ZmFsc2UsIkVuZERhdGVQb3NpdGlvbiI6ZmFsc2UsIlRpdGxlUG9zaXRpb24iOmZhbHNlLCJEdXJhdGlvblBvc2l0aW9uIjpmYWxzZSwiUGVyY2VudGFnZUNvbXBsZXRlZFBvc2l0aW9uIjpmYWxzZSwiU3BhY2luZyI6ZmFsc2UsIklzQmVsb3dUaW1lYmFuZCI6ZmFsc2UsIkRhdGVGb3JtYXQiOmZhbHNlLCJXZWVrTnVtYmVyaW5nIjpmYWxzZSwiSXNWaXNpYmxlIjpmYWxzZX19LCJHcmlkbGluZVBhbmVsU3R5bGUiOnsiJGlkIjoiMTQ2NiIsIkdyaWRsaW5lU3R5bGUiOnsiJGlkIjoiMTQ2NyIsIkxpbmVDb2xvciI6eyIkaWQiOiIxNDY4IiwiJHR5cGUiOiJOTFJFLkNvbW1vbi5Eb20uU29saWRDb2xvckJydXNoLCBOTFJFLkNvbW1vbiIsIkNvbG9yIjp7IiRpZCI6IjE0NjkiLCJBIjozOCwiUiI6MCwiRyI6MCwiQiI6MH19LCJMaW5lV2VpZ2h0IjoxLjAsIkxpbmVUeXBlIjowLCJQYXJlbnRTdHlsZSI6bnVsbH0sIk1hcmdpbiI6eyIkaWQiOiIxNDcwIiwiVG9wIjowLjAsIkxlZnQiOjAuMCwiUmlnaHQiOjAuMCwiQm90dG9tIjowLjB9LCJQYWRkaW5nIjp7IiRpZCI6IjE0NzEiLCJUb3AiOjAuMCwiTGVmdCI6MC4wLCJSaWdodCI6MC4wLCJCb3R0b20iOjAuMH0sIkJhY2tncm91bmQiOm51bGwsIklzVmlzaWJsZSI6dHJ1ZSwiV2lkdGgiOjAuMCwiSGVpZ2h0IjowLjAsIkJvcmRlclN0eWxlIjp7IiRpZCI6IjE0NzIiLCJMaW5lQ29sb3IiOm51bGwsIkxpbmVXZWlnaHQiOjAuMCwiTGluZVR5cGUiOjAsIlBhcmVudFN0eWxlIjpudWxsfSwiUGFyZW50U3R5bGUiOm51bGx9LCJBY3Rpdml0eUxpbmVQYW5lbFN0eWxlIjp7IiRpZCI6IjE0NzMiLCJBY3Rpdml0eUxpbmVTdHlsZSI6eyIkaWQiOiIxNDc0IiwiTGluZUNvbG9yIjp7IiRpZCI6IjE0NzUiLCIkdHlwZSI6Ik5MUkUuQ29tbW9uLkRvbS5Tb2xpZENvbG9yQnJ1c2gsIE5MUkUuQ29tbW9uIiwiQ29sb3IiOnsiJGlkIjoiMTQ3NiIsIkEiOjM4LCJSIjo2OCwiRyI6MTE0LCJCIjoxOTZ9fSwiTGluZVdlaWdodCI6MS4wLCJMaW5lVHlwZSI6MCwiUGFyZW50U3R5bGUiOm51bGx9LCJNYXJnaW4iOnsiJGlkIjoiMTQ3NyIsIlRvcCI6MC4wLCJMZWZ0IjowLjAsIlJpZ2h0IjowLjAsIkJvdHRvbSI6MC4wfSwiUGFkZGluZyI6eyIkaWQiOiIxNDc4IiwiVG9wIjowLjAsIkxlZnQiOjAuMCwiUmlnaHQiOjAuMCwiQm90dG9tIjowLjB9LCJCYWNrZ3JvdW5kIjpudWxsLCJJc1Zpc2libGUiOnRydWUsIldpZHRoIjowLjAsIkhlaWdodCI6MC4wLCJCb3JkZXJTdHlsZSI6bnVsbCwiUGFyZW50U3R5bGUiOm51bGx9LCJTaG93RWxhcHNlZFRpbWVHcmFkaWVudFN0eWxlIjpmYWxzZSwiVGltZWJhbmRSZXNlcnZlZExlZnRBcmVhU3R5bGUiOnsiJGlkIjoiMTQ3OSIsIkFjdGl2aXR5SGVhZGVyV2lkdGgiOjAuMCwiSXNTZXQiOmZhbHNlfSwiRGVmYXVsdFN3aW1sYW5lU3R5bGUiOnsiJGlkIjoiMTQ4MCIsIkhlYWRlclN0eWxlIjp7IiRpZCI6IjE0ODEiLCJUZXh0U3R5bGUiOnsiJGlkIjoiMTQ4MiIsIkZvbnRTZXR0aW5ncyI6eyIkaWQiOiIxNDgzIiwiRm9udFNpemUiOjEyLCJGb250TmFtZSI6IkNhbGlicmkiLCJJc0JvbGQiOmZhbHNlLCJJc0l0YWxpYyI6ZmFsc2UsIklzVW5kZXJsaW5lZCI6ZmFsc2UsIlBhcmVudFN0eWxlIjpudWxsfSwiQXV0b1NpemUiOjAsIkZvcmVncm91bmQiOnsiJGlkIjoiMTQ4NCIsIkNvbG9yIjp7IiRpZCI6IjE0ODUiLCJBIjoyNTUsIlIiOjMyLCJHIjo1NiwiQiI6MTAwfX0sIk1heFdpZHRoIjowLjAsIk1heEhlaWdodCI6MC4wLCJTbWFydEZvcmVncm91bmRJc0FjdGl2ZSI6ZmFsc2UsIkhvcml6b250YWxBbGlnbm1lbnQiOjAsIlZlcnRpY2FsQWxpZ25tZW50IjowLCJTbWFydEZvcmVncm91bmQiOm51bGwsIkJhY2tncm91bmRGaWxsVHlwZSI6MCwiTWFyZ2luIjp7IiRpZCI6IjE0ODYiLCJUb3AiOjAuMCwiTGVmdCI6MC4wLCJSaWdodCI6MC4wLCJCb3R0b20iOjAuMH0sIlBhZGRpbmciOnsiJGlkIjoiMTQ4NyIsIlRvcCI6MC4wLCJMZWZ0IjowLjAsIlJpZ2h0IjowLjAsIkJvdHRvbSI6MC4wfSwiQmFja2dyb3VuZCI6bnVsbCwiSXNWaXNpYmxlIjpmYWxzZSwiV2lkdGgiOjAuMCwiSGVpZ2h0IjowLjAsIkJvcmRlclN0eWxlIjpudWxsLCJQYXJlbnRTdHlsZSI6bnVsbH0sIlJlY3RhbmdsZVN0eWxlIjp7IiRpZCI6IjE0ODgiLCJNYXJnaW4iOnsiJGlkIjoiMTQ4OSIsIlRvcCI6MC4wLCJMZWZ0IjowLjAsIlJpZ2h0IjowLjAsIkJvdHRvbSI6MC4wfSwiUGFkZGluZyI6eyIkaWQiOiIxNDkwIiwiVG9wIjowLjAsIkxlZnQiOjAuMCwiUmlnaHQiOjAuMCwiQm90dG9tIjowLjB9LCJCYWNrZ3JvdW5kIjp7IiRpZCI6IjE0OTEiLCJDb2xvciI6eyIkaWQiOiIxNDkyIiwiQSI6MTI3LCJSIjo5MSwiRyI6MTU1LCJCIjoyMTN9fSwiSXNWaXNpYmxlIjpmYWxzZSwiV2lkdGgiOjAuMCwiSGVpZ2h0IjowLjAsIkJvcmRlclN0eWxlIjp7IiRpZCI6IjE0OTMiLCJMaW5lQ29sb3IiOnsiJGlkIjoiMTQ5NCIsIiR0eXBlIjoiTkxSRS5Db21tb24uRG9tLlNvbGlkQ29sb3JCcnVzaCwgTkxSRS5Db21tb24iLCJDb2xvciI6eyIkaWQiOiIxNDk1IiwiQSI6MjU1LCJSIjoyNTUsIkciOjAsIkIiOjB9fSwiTGluZVdlaWdodCI6MC4wLCJMaW5lVHlwZSI6MCwiUGFyZW50U3R5bGUiOm51bGx9LCJQYXJlbnRTdHlsZSI6bnVsbH0sIk1hcmdpbiI6eyIkaWQiOiIxNDk2IiwiVG9wIjowLjAsIkxlZnQiOjAuMCwiUmlnaHQiOjAuMCwiQm90dG9tIjowLjB9LCJQYWRkaW5nIjp7IiRpZCI6IjE0OTciLCJUb3AiOjAuMCwiTGVmdCI6MC4wLCJSaWdodCI6MC4wLCJCb3R0b20iOjAuMH0sIkJhY2tncm91bmQiOm51bGwsIklzVmlzaWJsZSI6dHJ1ZSwiV2lkdGgiOjAuMCwiSGVpZ2h0IjowLjAsIkJvcmRlclN0eWxlIjpudWxsLCJQYXJlbnRTdHlsZSI6bnVsbH0sIkJhY2tncm91bmRTdHlsZSI6eyIkaWQiOiIxNDk4IiwiTWFyZ2luIjp7IiRpZCI6IjE0OTkiLCJUb3AiOjAuMCwiTGVmdCI6MC4wLCJSaWdodCI6MC4wLCJCb3R0b20iOjAuMH0sIlBhZGRpbmciOnsiJGlkIjoiMTUwMCIsIlRvcCI6MC4wLCJMZWZ0IjowLjAsIlJpZ2h0IjowLjAsIkJvdHRvbSI6MC4wfSwiQmFja2dyb3VuZCI6eyIkaWQiOiIxNTAxIiwiQ29sb3IiOnsiJGlkIjoiMTUwMiIsIkEiOjM4LCJSIjo5MSwiRyI6MTU1LCJCIjoyMTN9fSwiSXNWaXNpYmxlIjp0cnVlLCJXaWR0aCI6MC4wLCJIZWlnaHQiOjAuMCwiQm9yZGVyU3R5bGUiOnsiJGlkIjoiMTUwMyIsIkxpbmVDb2xvciI6eyIkaWQiOiIxNTA0IiwiJHR5cGUiOiJOTFJFLkNvbW1vbi5Eb20uU29saWRDb2xvckJydXNoLCBOTFJFLkNvbW1vbiIsIkNvbG9yIjp7IiRpZCI6IjE1MDUiLCJBIjoyNTUsIlIiOjI1NSwiRyI6MCwiQiI6MH19LCJMaW5lV2VpZ2h0IjowLjAsIkxpbmVUeXBlIjowLCJQYXJlbnRTdHlsZSI6bnVsbH0sIlBhcmVudFN0eWxlIjpudWxsfSwiSXNBYm92ZVRpbWViYW5kIjpmYWxzZSwiTWFyZ2luIjp7IiRpZCI6IjE1MDYiLCJUb3AiOjAuMCwiTGVmdCI6MC4wLCJSaWdodCI6MC4wLCJCb3R0b20iOjAuMH0sIlBhZGRpbmciOnsiJGlkIjoiMTUwNyIsIlRvcCI6MC4wLCJMZWZ0IjowLjAsIlJpZ2h0IjowLjAsIkJvdHRvbSI6MC4wfSwiSXNWaXNpYmxlIjp0cnVlLCJXaWR0aCI6MC4wLCJIZWlnaHQiOjAuMCwiQm9yZGVyU3R5bGUiOm51bGwsIlBhcmVudFN0eWxlIjpudWxsfX0sIlNjYWxlIjp7IiRpZCI6IjE1MDgiLCJTdGFydERhdGUiOiIwMDAxLTAxLTAxVDAwOjAwOjAwIiwiRW5kRGF0ZSI6IjIwMjEtMTItMjVUMDM6NDQ6MDAiLCJGb3JtYXQiOiJNTU0iLCJUeXBlIjozLCJBdXRvRGF0ZVJhbmdlIjp0cnVlLCJXb3JraW5nRGF5cyI6MzEsIkZpc2NhbFllYXIiOnsiJGlkIjoiMTUwOSIsIlN0YXJ0TW9udGgiOjEsIlVzZVN0YXJ0aW5nWWVhckZvck51bWJlcmluZyI6dHJ1ZSwiU2hvd0Zpc2NhbFllYXJMYWJlbCI6dHJ1ZX0sIlRvZGF5TWFya2VyVGV4dCI6IlRvZGF5IiwiQXV0b1NjYWxlVHlwZSI6ZmFsc2V9LCJTY2FsZVYyIjp7IiRpZCI6IjE1MTAiLCJTdGFydERhdGUiOiIwMDAxLTAxLTAxVDAwOjAwOjAwIiwiRW5kRGF0ZSI6IjIwMjItMTItMjVUMDM6NDQ6MDAiLCJBdXRvRGF0ZVJhbmdlIjp0cnVlLCJXb3JraW5nRGF5cyI6MzEsIkZpc2NhbFllYXIiOnsiJHJlZiI6IjE1MDkifSwiVG9kYXlNYXJrZXJUZXh0IjoiVG9kYXkiLCJBdXRvU2NhbGVUeXBlIjpmYWxzZSwiVGltZWJhbmRTY2FsZXMiOnsiJGlkIjoiMTUxMSIsIlRvcFNjYWxlTGF5ZXIiOnsiJGlkIjoiMTUxMiIsIkZvcm1hdCI6Ik1NTSIsIlR5cGUiOjN9LCJNaWRkbGVTY2FsZUxheWVyIjp7IiRpZCI6IjE1MTMiLCJGb3JtYXQiOm51bGwsIlR5cGUiOjB9LCJCb3R0b21TY2FsZUxheWVyIjp7IiRpZCI6IjE1MTQiLCJGb3JtYXQiOm51bGwsIlR5cGUiOjB9fX0sIk1pbGVzdG9uZXMiOlt7IiRpZCI6IjE1MTUiLCJEYXRlIjoiMjAyMi0wMy0zMVQyMzo1OTowMCIsIlN0eWxlIjp7IiRpZCI6IjE1MTYiLCJTaGFwZSI6NSwiQ29ubmVjdG9yTWFyZ2luIjp7IiRyZWYiOiIxNDI1In0sIkNvbm5lY3RvclN0eWxlIjp7IiRpZCI6IjE1MTciLCJMaW5lQ29sb3IiOnsiJGlkIjoiMTUxOCIsIiR0eXBlIjoiTkxSRS5Db21tb24uRG9tLlNvbGlkQ29sb3JCcnVzaCwgTkxSRS5Db21tb24iLCJDb2xvciI6eyIkaWQiOiIxNTE5IiwiQSI6MTI3LCJSIjo3OSwiRyI6MTI5LCJCIjoxODl9fSwiTGluZVdlaWdodCI6MS4wLCJMaW5lVHlwZSI6MCwiUGFyZW50U3R5bGUiOm51bGx9LCJJc0JlbG93VGltZWJhbmQiOmZhbHNlLCJQb3NpdGlvbk9uVGFzayI6MCwiSGlkZURhdGUiOmZhbHNlLCJTaGFwZVNpemUiOjEsIlNwYWNpbmciOjEuMCwiUGFkZGluZyI6eyIkcmVmIjoiMTQyOSJ9LCJTaGFwZVN0eWxlIjp7IiRpZCI6IjE1MjAiLCJNYXJnaW4iOnsiJHJlZiI6IjI3NyJ9LCJQYWRkaW5nIjp7IiRyZWYiOiIyNzgifSwiQmFja2dyb3VuZCI6eyIkaWQiOiIxNTIxIiwiQ29sb3IiOnsiJGlkIjoiMTUyMiIsIkEiOjI1NSwiUiI6MTc4LCJHIjoxNCwiQiI6MTh9fSwiSXNWaXNpYmxlIjp0cnVlLCJXaWR0aCI6MTguMCwiSGVpZ2h0IjoyMC4wLCJCb3JkZXJTdHlsZSI6eyIkaWQiOiIxNTIzIiwiTGluZUNvbG9yIjp7IiRyZWYiOiIxNDM0In0sIkxpbmVXZWlnaHQiOjAuMCwiTGluZVR5cGUiOjAsIlBhcmVudFN0eWxlIjpudWxsfSwiUGFyZW50U3R5bGUiOm51bGx9LCJUaXRsZVN0eWxlIjp7IiRpZCI6IjE1MjQiLCJGb250U2V0dGluZ3MiOnsiJGlkIjoiMTUyNSIsIkZvbnRTaXplIjoxMSwiRm9udE5hbWUiOiJDYWxpYnJpIiwiSXNCb2xkIjp0cnVlLCJJc0l0YWxpYyI6ZmFsc2UsIklzVW5kZXJsaW5lZCI6ZmFsc2UsIlBhcmVudFN0eWxlIjpudWxsfSwiQXV0b1NpemUiOjAsIkZvcmVncm91bmQiOnsiJGlkIjoiMTUyNiIsIkNvbG9yIjp7IiRpZCI6IjE1Mjc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I4NiJ9LCJQYWRkaW5nIjp7IiRyZWYiOiIyODcifSwiQmFja2dyb3VuZCI6eyIkaWQiOiIxNTI4IiwiQ29sb3IiOnsiJGlkIjoiMTUyOSIsIkEiOjAsIlIiOjI1NSwiRyI6MjU1LCJCIjoyNTV9fSwiSXNWaXNpYmxlIjp0cnVlLCJXaWR0aCI6MC4wLCJIZWlnaHQiOjAuMCwiQm9yZGVyU3R5bGUiOnsiJGlkIjoiMTUzMCIsIkxpbmVDb2xvciI6bnVsbCwiTGluZVdlaWdodCI6MC4wLCJMaW5lVHlwZSI6MCwiUGFyZW50U3R5bGUiOm51bGx9LCJQYXJlbnRTdHlsZSI6bnVsbH0sIkRhdGVTdHlsZSI6eyIkaWQiOiIxNTMxIiwiRm9udFNldHRpbmdzIjp7IiRpZCI6IjE1MzIiLCJGb250U2l6ZSI6MTAsIkZvbnROYW1lIjoiQ2FsaWJyaSIsIklzQm9sZCI6ZmFsc2UsIklzSXRhbGljIjpmYWxzZSwiSXNVbmRlcmxpbmVkIjpmYWxzZSwiUGFyZW50U3R5bGUiOm51bGx9LCJBdXRvU2l6ZSI6MCwiRm9yZWdyb3VuZCI6eyIkaWQiOiIxNTMzIiwiQ29sb3IiOnsiJGlkIjoiMTUzNCIsIkEiOjI1NSwiUiI6NjgsIkciOjg0LCJCIjoxMDZ9fSwiTWF4V2lkdGgiOjIwMC4wLCJNYXhIZWlnaHQiOiJJbmZpbml0eSIsIlNtYXJ0Rm9yZWdyb3VuZElzQWN0aXZlIjpmYWxzZSwiSG9yaXpvbnRhbEFsaWdubWVudCI6MSwiVmVydGljYWxBbGlnbm1lbnQiOjAsIlNtYXJ0Rm9yZWdyb3VuZCI6bnVsbCwiQmFja2dyb3VuZEZpbGxUeXBlIjowLCJNYXJnaW4iOnsiJHJlZiI6IjI5NSJ9LCJQYWRkaW5nIjp7IiRyZWYiOiIyOTYifSwiQmFja2dyb3VuZCI6eyIkaWQiOiIxNTM1IiwiQ29sb3IiOnsiJGlkIjoiMTUzNiIsIkEiOjAsIlIiOjI1NSwiRyI6MjU1LCJCIjoyNTV9fSwiSXNWaXNpYmxlIjpmYWxzZSwiV2lkdGgiOjAuMCwiSGVpZ2h0IjowLjAsIkJvcmRlclN0eWxlIjp7IiRpZCI6IjE1MzciLCJMaW5lQ29sb3IiOm51bGwsIkxpbmVXZWlnaHQiOjAuMCwiTGluZVR5cGUiOjAsIlBhcmVudFN0eWxlIjpudWxsfSwiUGFyZW50U3R5bGUiOm51bGx9LCJEYXRlRm9ybWF0Ijp7IiRpZCI6IjE1MzgiLCJGb3JtYXRTdHJpbmciOiJ5eXl5L01NTSIsIlNlcGFyYXRvciI6Ii8iLCJVc2VJbnRlcm5hdGlvbmFsRGF0ZUZvcm1hdCI6ZmFsc2UsIkRhdGVJc1Zpc2libGUiOnRydWUsIlRpbWVJc1Zpc2libGUiOmZhbHNlLCJIb3VyRGlnaXRzIjoxLCJBbVBtRGVzaWduYXRvciI6MiwiVHJpbTAwTWludXRlcyI6ZmFsc2UsIkxhc3RLbm93blZpc2liaWxpdHlTdGF0ZSI6eyIkaWQiOiIxNTM5IiwiRGF0ZVBhcnRJc1Zpc2libGUiOnRydWUsIlRpbWVQYXJ0SXNWaXNpYmxlIjpmYWxzZX19LCJXZWVrTnVtYmVyaW5nIjp7IiRpZCI6IjE1NDAiLCJGb3JtYXQiOjAsIklzVmlzaWJsZSI6ZmFsc2UsIkxhc3RLbm93blZpc2liaWxpdHlTdGF0ZSI6ZmFsc2V9LCJJc1Zpc2libGUiOnRydWUsIlBhcmVudFN0eWxlIjpudWxsfSwiSW5kZXgiOjAsIlBlcmNlbnRhZ2VDb21wbGV0ZSI6bnVsbCwiUG9zaXRpb24iOnsiUmF0aW8iOjAuMCwiSXNDdXN0b20iOmZhbHNlfSwiRGF0ZUZvcm1hdCI6eyIkcmVmIjoiMTUzOCJ9LCJXZWVrTnVtYmVyaW5nIjp7IiRpZCI6IjE1NDEiLCJGb3JtYXQiOjAsIklzVmlzaWJsZSI6ZmFsc2UsIkxhc3RLbm93blZpc2liaWxpdHlTdGF0ZSI6ZmFsc2V9LCJSZWxhdGVkVGFza0lkIjoiMDAwMDAwMDAtMDAwMC0wMDAwLTAwMDAtMDAwMDAwMDAwMDAwIiwiSWQiOiJhZDUyZTczOS03OTc5LTQ2ZDctYmQ0Ni0zYjAwNmMwNjM5NGQiLCJJbXBvcnRJZCI6bnVsbCwiVGl0bGUiOiJRMSBSZXZpZXciLCJOb3RlIjpudWxsLCJIeXBlcmxpbmsiOnsiJGlkIjoiMTU0MiIsIkFkZHJlc3MiOiIiLCJTdWJBZGRyZXNzIjoiIn0sIklzQ2hhbmdlZCI6ZmFsc2UsIklzTmV3IjpmYWxzZX0seyIkaWQiOiIxNTQzIiwiRGF0ZSI6IjIwMjItMDctMDVUMDA6MDA6MDAiLCJTdHlsZSI6eyIkaWQiOiIxNTQ0IiwiU2hhcGUiOjUsIkNvbm5lY3Rvck1hcmdpbiI6eyIkcmVmIjoiMTQyNSJ9LCJDb25uZWN0b3JTdHlsZSI6eyIkaWQiOiIxNTQ1IiwiTGluZUNvbG9yIjp7IiRpZCI6IjE1NDYiLCIkdHlwZSI6Ik5MUkUuQ29tbW9uLkRvbS5Tb2xpZENvbG9yQnJ1c2gsIE5MUkUuQ29tbW9uIiwiQ29sb3IiOnsiJGlkIjoiMTU0NyIsIkEiOjEyNywiUiI6MTc4LCJHIjoxNCwiQiI6MTh9fSwiTGluZVdlaWdodCI6MS4wLCJMaW5lVHlwZSI6MCwiUGFyZW50U3R5bGUiOm51bGx9LCJJc0JlbG93VGltZWJhbmQiOmZhbHNlLCJQb3NpdGlvbk9uVGFzayI6MCwiSGlkZURhdGUiOmZhbHNlLCJTaGFwZVNpemUiOjEsIlNwYWNpbmciOjEuMCwiUGFkZGluZyI6eyIkcmVmIjoiMTQyOSJ9LCJTaGFwZVN0eWxlIjp7IiRpZCI6IjE1NDgiLCJNYXJnaW4iOnsiJHJlZiI6IjI3NyJ9LCJQYWRkaW5nIjp7IiRyZWYiOiIyNzgifSwiQmFja2dyb3VuZCI6eyIkaWQiOiIxNTQ5IiwiQ29sb3IiOnsiJGlkIjoiMTU1MCIsIkEiOjI1NSwiUiI6MTc4LCJHIjoxNCwiQiI6MTh9fSwiSXNWaXNpYmxlIjp0cnVlLCJXaWR0aCI6MTguMCwiSGVpZ2h0IjoyMC4wLCJCb3JkZXJTdHlsZSI6eyIkaWQiOiIxNTUxIiwiTGluZUNvbG9yIjp7IiRyZWYiOiIxNDM0In0sIkxpbmVXZWlnaHQiOjAuMCwiTGluZVR5cGUiOjAsIlBhcmVudFN0eWxlIjpudWxsfSwiUGFyZW50U3R5bGUiOm51bGx9LCJUaXRsZVN0eWxlIjp7IiRpZCI6IjE1NTIiLCJGb250U2V0dGluZ3MiOnsiJGlkIjoiMTU1MyIsIkZvbnRTaXplIjoxMSwiRm9udE5hbWUiOiJDYWxpYnJpIiwiSXNCb2xkIjp0cnVlLCJJc0l0YWxpYyI6ZmFsc2UsIklzVW5kZXJsaW5lZCI6ZmFsc2UsIlBhcmVudFN0eWxlIjpudWxsfSwiQXV0b1NpemUiOjAsIkZvcmVncm91bmQiOnsiJGlkIjoiMTU1NCIsIkNvbG9yIjp7IiRpZCI6IjE1NTU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I4NiJ9LCJQYWRkaW5nIjp7IiRyZWYiOiIyODcifSwiQmFja2dyb3VuZCI6eyIkaWQiOiIxNTU2IiwiQ29sb3IiOnsiJGlkIjoiMTU1NyIsIkEiOjAsIlIiOjI1NSwiRyI6MjU1LCJCIjoyNTV9fSwiSXNWaXNpYmxlIjp0cnVlLCJXaWR0aCI6MC4wLCJIZWlnaHQiOjAuMCwiQm9yZGVyU3R5bGUiOnsiJGlkIjoiMTU1OCIsIkxpbmVDb2xvciI6bnVsbCwiTGluZVdlaWdodCI6MC4wLCJMaW5lVHlwZSI6MCwiUGFyZW50U3R5bGUiOm51bGx9LCJQYXJlbnRTdHlsZSI6bnVsbH0sIkRhdGVTdHlsZSI6eyIkaWQiOiIxNTU5IiwiRm9udFNldHRpbmdzIjp7IiRpZCI6IjE1NjAiLCJGb250U2l6ZSI6MTAsIkZvbnROYW1lIjoiQ2FsaWJyaSIsIklzQm9sZCI6ZmFsc2UsIklzSXRhbGljIjpmYWxzZSwiSXNVbmRlcmxpbmVkIjpmYWxzZSwiUGFyZW50U3R5bGUiOm51bGx9LCJBdXRvU2l6ZSI6MCwiRm9yZWdyb3VuZCI6eyIkaWQiOiIxNTYxIiwiQ29sb3IiOnsiJGlkIjoiMTU2MiIsIkEiOjI1NSwiUiI6NjgsIkciOjg0LCJCIjoxMDZ9fSwiTWF4V2lkdGgiOjIwMC4wLCJNYXhIZWlnaHQiOiJJbmZpbml0eSIsIlNtYXJ0Rm9yZWdyb3VuZElzQWN0aXZlIjpmYWxzZSwiSG9yaXpvbnRhbEFsaWdubWVudCI6MSwiVmVydGljYWxBbGlnbm1lbnQiOjAsIlNtYXJ0Rm9yZWdyb3VuZCI6bnVsbCwiQmFja2dyb3VuZEZpbGxUeXBlIjowLCJNYXJnaW4iOnsiJHJlZiI6IjI5NSJ9LCJQYWRkaW5nIjp7IiRyZWYiOiIyOTYifSwiQmFja2dyb3VuZCI6eyIkaWQiOiIxNTYzIiwiQ29sb3IiOnsiJGlkIjoiMTU2NCIsIkEiOjAsIlIiOjI1NSwiRyI6MjU1LCJCIjoyNTV9fSwiSXNWaXNpYmxlIjpmYWxzZSwiV2lkdGgiOjAuMCwiSGVpZ2h0IjowLjAsIkJvcmRlclN0eWxlIjp7IiRpZCI6IjE1NjUiLCJMaW5lQ29sb3IiOm51bGwsIkxpbmVXZWlnaHQiOjAuMCwiTGluZVR5cGUiOjAsIlBhcmVudFN0eWxlIjpudWxsfSwiUGFyZW50U3R5bGUiOm51bGx9LCJEYXRlRm9ybWF0Ijp7IiRpZCI6IjE1NjYiLCJGb3JtYXRTdHJpbmciOiJ5eXl5L01NTSIsIlNlcGFyYXRvciI6Ii8iLCJVc2VJbnRlcm5hdGlvbmFsRGF0ZUZvcm1hdCI6ZmFsc2UsIkRhdGVJc1Zpc2libGUiOnRydWUsIlRpbWVJc1Zpc2libGUiOmZhbHNlLCJIb3VyRGlnaXRzIjoxLCJBbVBtRGVzaWduYXRvciI6MiwiVHJpbTAwTWludXRlcyI6ZmFsc2UsIkxhc3RLbm93blZpc2liaWxpdHlTdGF0ZSI6eyIkaWQiOiIxNTY3IiwiRGF0ZVBhcnRJc1Zpc2libGUiOnRydWUsIlRpbWVQYXJ0SXNWaXNpYmxlIjpmYWxzZX19LCJXZWVrTnVtYmVyaW5nIjp7IiRpZCI6IjE1NjgiLCJGb3JtYXQiOjAsIklzVmlzaWJsZSI6ZmFsc2UsIkxhc3RLbm93blZpc2liaWxpdHlTdGF0ZSI6ZmFsc2V9LCJJc1Zpc2libGUiOnRydWUsIlBhcmVudFN0eWxlIjpudWxsfSwiSW5kZXgiOjEsIlBlcmNlbnRhZ2VDb21wbGV0ZSI6bnVsbCwiUG9zaXRpb24iOnsiUmF0aW8iOjAuMDg5OTcxMTI4MjE2NDk2MjIxLCJJc0N1c3RvbSI6ZmFsc2V9LCJEYXRlRm9ybWF0Ijp7IiRyZWYiOiIxNTY2In0sIldlZWtOdW1iZXJpbmciOnsiJGlkIjoiMTU2OSIsIkZvcm1hdCI6MCwiSXNWaXNpYmxlIjpmYWxzZSwiTGFzdEtub3duVmlzaWJpbGl0eVN0YXRlIjpmYWxzZX0sIlJlbGF0ZWRUYXNrSWQiOiIwMDAwMDAwMC0wMDAwLTAwMDAtMDAwMC0wMDAwMDAwMDAwMDAiLCJJZCI6IjRhMDc2ZWJkLTI1YzEtNDY5OC05ZWJmLTU5MDBhNWI0NDQ3ZSIsIkltcG9ydElkIjpudWxsLCJUaXRsZSI6IlEyIFJldmlldyIsIk5vdGUiOm51bGwsIkh5cGVybGluayI6eyIkaWQiOiIxNTcwIiwiQWRkcmVzcyI6IiIsIlN1YkFkZHJlc3MiOiIifSwiSXNDaGFuZ2VkIjpmYWxzZSwiSXNOZXciOmZhbHNlfSx7IiRpZCI6IjE1NzEiLCJEYXRlIjoiMjAyMi0wOS0yN1QyMzo1OTowMCIsIlN0eWxlIjp7IiRpZCI6IjE1NzIiLCJTaGFwZSI6NSwiQ29ubmVjdG9yTWFyZ2luIjp7IiRyZWYiOiIxNDI1In0sIkNvbm5lY3RvclN0eWxlIjp7IiRpZCI6IjE1NzMiLCJMaW5lQ29sb3IiOnsiJGlkIjoiMTU3NCIsIiR0eXBlIjoiTkxSRS5Db21tb24uRG9tLlNvbGlkQ29sb3JCcnVzaCwgTkxSRS5Db21tb24iLCJDb2xvciI6eyIkaWQiOiIxNTc1IiwiQSI6MTI3LCJSIjo3OSwiRyI6MTI5LCJCIjoxODl9fSwiTGluZVdlaWdodCI6MS4wLCJMaW5lVHlwZSI6MCwiUGFyZW50U3R5bGUiOm51bGx9LCJJc0JlbG93VGltZWJhbmQiOmZhbHNlLCJQb3NpdGlvbk9uVGFzayI6MCwiSGlkZURhdGUiOmZhbHNlLCJTaGFwZVNpemUiOjEsIlNwYWNpbmciOjEuMCwiUGFkZGluZyI6eyIkcmVmIjoiMTQyOSJ9LCJTaGFwZVN0eWxlIjp7IiRpZCI6IjE1NzYiLCJNYXJnaW4iOnsiJHJlZiI6IjI3NyJ9LCJQYWRkaW5nIjp7IiRyZWYiOiIyNzgifSwiQmFja2dyb3VuZCI6eyIkaWQiOiIxNTc3IiwiQ29sb3IiOnsiJGlkIjoiMTU3OCIsIkEiOjI1NSwiUiI6MTc4LCJHIjoxNCwiQiI6MTh9fSwiSXNWaXNpYmxlIjp0cnVlLCJXaWR0aCI6MTguMCwiSGVpZ2h0IjoyMC4wLCJCb3JkZXJTdHlsZSI6eyIkaWQiOiIxNTc5IiwiTGluZUNvbG9yIjp7IiRyZWYiOiIxNDM0In0sIkxpbmVXZWlnaHQiOjAuMCwiTGluZVR5cGUiOjAsIlBhcmVudFN0eWxlIjpudWxsfSwiUGFyZW50U3R5bGUiOm51bGx9LCJUaXRsZVN0eWxlIjp7IiRpZCI6IjE1ODAiLCJGb250U2V0dGluZ3MiOnsiJGlkIjoiMTU4MSIsIkZvbnRTaXplIjoxMSwiRm9udE5hbWUiOiJDYWxpYnJpIiwiSXNCb2xkIjp0cnVlLCJJc0l0YWxpYyI6ZmFsc2UsIklzVW5kZXJsaW5lZCI6ZmFsc2UsIlBhcmVudFN0eWxlIjpudWxsfSwiQXV0b1NpemUiOjAsIkZvcmVncm91bmQiOnsiJGlkIjoiMTU4MiIsIkNvbG9yIjp7IiRpZCI6IjE1ODMiLCJBIjoyNTUsIlIiOjAsIkciOjAsIkIiOjB9fSwiTWF4V2lkdGgiOjIwMC4wLCJNYXhIZWlnaHQiOiJJbmZpbml0eSIsIlNtYXJ0Rm9yZWdyb3VuZElzQWN0aXZlIjpmYWxzZSwiSG9yaXpvbnRhbEFsaWdubWVudCI6MSwiVmVydGljYWxBbGlnbm1lbnQiOjAsIlNtYXJ0Rm9yZWdyb3VuZCI6bnVsbCwiQmFja2dyb3VuZEZpbGxUeXBlIjowLCJNYXJnaW4iOnsiJHJlZiI6IjI4NiJ9LCJQYWRkaW5nIjp7IiRyZWYiOiIyODcifSwiQmFja2dyb3VuZCI6eyIkaWQiOiIxNTg0IiwiQ29sb3IiOnsiJGlkIjoiMTU4NSIsIkEiOjAsIlIiOjI1NSwiRyI6MjU1LCJCIjoyNTV9fSwiSXNWaXNpYmxlIjp0cnVlLCJXaWR0aCI6MC4wLCJIZWlnaHQiOjAuMCwiQm9yZGVyU3R5bGUiOnsiJGlkIjoiMTU4NiIsIkxpbmVDb2xvciI6bnVsbCwiTGluZVdlaWdodCI6MC4wLCJMaW5lVHlwZSI6MCwiUGFyZW50U3R5bGUiOm51bGx9LCJQYXJlbnRTdHlsZSI6bnVsbH0sIkRhdGVTdHlsZSI6eyIkaWQiOiIxNTg3IiwiRm9udFNldHRpbmdzIjp7IiRpZCI6IjE1ODgiLCJGb250U2l6ZSI6MTAsIkZvbnROYW1lIjoiQ2FsaWJyaSIsIklzQm9sZCI6ZmFsc2UsIklzSXRhbGljIjpmYWxzZSwiSXNVbmRlcmxpbmVkIjpmYWxzZSwiUGFyZW50U3R5bGUiOm51bGx9LCJBdXRvU2l6ZSI6MCwiRm9yZWdyb3VuZCI6eyIkaWQiOiIxNTg5IiwiQ29sb3IiOnsiJGlkIjoiMTU5MCIsIkEiOjI1NSwiUiI6NjgsIkciOjg0LCJCIjoxMDZ9fSwiTWF4V2lkdGgiOjIwMC4wLCJNYXhIZWlnaHQiOiJJbmZpbml0eSIsIlNtYXJ0Rm9yZWdyb3VuZElzQWN0aXZlIjpmYWxzZSwiSG9yaXpvbnRhbEFsaWdubWVudCI6MSwiVmVydGljYWxBbGlnbm1lbnQiOjAsIlNtYXJ0Rm9yZWdyb3VuZCI6bnVsbCwiQmFja2dyb3VuZEZpbGxUeXBlIjowLCJNYXJnaW4iOnsiJHJlZiI6IjI5NSJ9LCJQYWRkaW5nIjp7IiRyZWYiOiIyOTYifSwiQmFja2dyb3VuZCI6eyIkaWQiOiIxNTkxIiwiQ29sb3IiOnsiJGlkIjoiMTU5MiIsIkEiOjAsIlIiOjI1NSwiRyI6MjU1LCJCIjoyNTV9fSwiSXNWaXNpYmxlIjpmYWxzZSwiV2lkdGgiOjAuMCwiSGVpZ2h0IjowLjAsIkJvcmRlclN0eWxlIjp7IiRpZCI6IjE1OTMiLCJMaW5lQ29sb3IiOm51bGwsIkxpbmVXZWlnaHQiOjAuMCwiTGluZVR5cGUiOjAsIlBhcmVudFN0eWxlIjpudWxsfSwiUGFyZW50U3R5bGUiOm51bGx9LCJEYXRlRm9ybWF0Ijp7IiRpZCI6IjE1OTQiLCJGb3JtYXRTdHJpbmciOiJ5eXl5L01NTSIsIlNlcGFyYXRvciI6Ii8iLCJVc2VJbnRlcm5hdGlvbmFsRGF0ZUZvcm1hdCI6ZmFsc2UsIkRhdGVJc1Zpc2libGUiOnRydWUsIlRpbWVJc1Zpc2libGUiOmZhbHNlLCJIb3VyRGlnaXRzIjoxLCJBbVBtRGVzaWduYXRvciI6MiwiVHJpbTAwTWludXRlcyI6ZmFsc2UsIkxhc3RLbm93blZpc2liaWxpdHlTdGF0ZSI6eyIkaWQiOiIxNTk1IiwiRGF0ZVBhcnRJc1Zpc2libGUiOnRydWUsIlRpbWVQYXJ0SXNWaXNpYmxlIjpmYWxzZX19LCJXZWVrTnVtYmVyaW5nIjp7IiRpZCI6IjE1OTYiLCJGb3JtYXQiOjAsIklzVmlzaWJsZSI6ZmFsc2UsIkxhc3RLbm93blZpc2liaWxpdHlTdGF0ZSI6ZmFsc2V9LCJJc1Zpc2libGUiOnRydWUsIlBhcmVudFN0eWxlIjpudWxsfSwiSW5kZXgiOjIsIlBlcmNlbnRhZ2VDb21wbGV0ZSI6bnVsbCwiUG9zaXRpb24iOnsiUmF0aW8iOjAuMCwiSXNDdXN0b20iOmZhbHNlfSwiRGF0ZUZvcm1hdCI6eyIkcmVmIjoiMTU5NCJ9LCJXZWVrTnVtYmVyaW5nIjp7IiRpZCI6IjE1OTciLCJGb3JtYXQiOjAsIklzVmlzaWJsZSI6ZmFsc2UsIkxhc3RLbm93blZpc2liaWxpdHlTdGF0ZSI6ZmFsc2V9LCJSZWxhdGVkVGFza0lkIjoiMDAwMDAwMDAtMDAwMC0wMDAwLTAwMDAtMDAwMDAwMDAwMDAwIiwiSWQiOiJkYjQzOTNmYS1mYjIwLTQyOWQtYTc2Ni03YWQzOTI3MWFmNTAiLCJJbXBvcnRJZCI6bnVsbCwiVGl0bGUiOiJRMyBSZXZpZXciLCJOb3RlIjpudWxsLCJIeXBlcmxpbmsiOnsiJGlkIjoiMTU5OCIsIkFkZHJlc3MiOiIiLCJTdWJBZGRyZXNzIjoiIn0sIklzQ2hhbmdlZCI6ZmFsc2UsIklzTmV3IjpmYWxzZX0seyIkaWQiOiIxNTk5IiwiRGF0ZSI6IjIwMjItMTItMjBUMjM6NTk6MDAiLCJTdHlsZSI6eyIkaWQiOiIxNjAwIiwiU2hhcGUiOjUsIkNvbm5lY3Rvck1hcmdpbiI6eyIkcmVmIjoiMTQyNSJ9LCJDb25uZWN0b3JTdHlsZSI6eyIkaWQiOiIxNjAxIiwiTGluZUNvbG9yIjp7IiRpZCI6IjE2MDIiLCIkdHlwZSI6Ik5MUkUuQ29tbW9uLkRvbS5Tb2xpZENvbG9yQnJ1c2gsIE5MUkUuQ29tbW9uIiwiQ29sb3IiOnsiJGlkIjoiMTYwMyIsIkEiOjEyNywiUiI6NzksIkciOjEyOSwiQiI6MTg5fX0sIkxpbmVXZWlnaHQiOjEuMCwiTGluZVR5cGUiOjAsIlBhcmVudFN0eWxlIjpudWxsfSwiSXNCZWxvd1RpbWViYW5kIjpmYWxzZSwiUG9zaXRpb25PblRhc2siOjAsIkhpZGVEYXRlIjpmYWxzZSwiU2hhcGVTaXplIjoxLCJTcGFjaW5nIjoxLjAsIlBhZGRpbmciOnsiJHJlZiI6IjE0MjkifSwiU2hhcGVTdHlsZSI6eyIkaWQiOiIxNjA0IiwiTWFyZ2luIjp7IiRyZWYiOiIyNzcifSwiUGFkZGluZyI6eyIkcmVmIjoiMjc4In0sIkJhY2tncm91bmQiOnsiJGlkIjoiMTYwNSIsIkNvbG9yIjp7IiRpZCI6IjE2MDYiLCJBIjoyNTUsIlIiOjE3OCwiRyI6MTQsIkIiOjE4fX0sIklzVmlzaWJsZSI6dHJ1ZSwiV2lkdGgiOjE4LjAsIkhlaWdodCI6MjAuMCwiQm9yZGVyU3R5bGUiOnsiJGlkIjoiMTYwNyIsIkxpbmVDb2xvciI6eyIkcmVmIjoiMTQzNCJ9LCJMaW5lV2VpZ2h0IjowLjAsIkxpbmVUeXBlIjowLCJQYXJlbnRTdHlsZSI6bnVsbH0sIlBhcmVudFN0eWxlIjpudWxsfSwiVGl0bGVTdHlsZSI6eyIkaWQiOiIxNjA4IiwiRm9udFNldHRpbmdzIjp7IiRpZCI6IjE2MDkiLCJGb250U2l6ZSI6MTEsIkZvbnROYW1lIjoiQ2FsaWJyaSIsIklzQm9sZCI6dHJ1ZSwiSXNJdGFsaWMiOmZhbHNlLCJJc1VuZGVybGluZWQiOmZhbHNlLCJQYXJlbnRTdHlsZSI6bnVsbH0sIkF1dG9TaXplIjowLCJGb3JlZ3JvdW5kIjp7IiRpZCI6IjE2MTAiLCJDb2xvciI6eyIkaWQiOiIxNjExIiwiQSI6MjU1LCJSIjowLCJHIjowLCJCIjowfX0sIk1heFdpZHRoIjoyMDAuMCwiTWF4SGVpZ2h0IjoiSW5maW5pdHkiLCJTbWFydEZvcmVncm91bmRJc0FjdGl2ZSI6ZmFsc2UsIkhvcml6b250YWxBbGlnbm1lbnQiOjEsIlZlcnRpY2FsQWxpZ25tZW50IjowLCJTbWFydEZvcmVncm91bmQiOm51bGwsIkJhY2tncm91bmRGaWxsVHlwZSI6MCwiTWFyZ2luIjp7IiRyZWYiOiIyODYifSwiUGFkZGluZyI6eyIkcmVmIjoiMjg3In0sIkJhY2tncm91bmQiOnsiJGlkIjoiMTYxMiIsIkNvbG9yIjp7IiRpZCI6IjE2MTMiLCJBIjowLCJSIjoyNTUsIkciOjI1NSwiQiI6MjU1fX0sIklzVmlzaWJsZSI6dHJ1ZSwiV2lkdGgiOjAuMCwiSGVpZ2h0IjowLjAsIkJvcmRlclN0eWxlIjp7IiRpZCI6IjE2MTQiLCJMaW5lQ29sb3IiOm51bGwsIkxpbmVXZWlnaHQiOjAuMCwiTGluZVR5cGUiOjAsIlBhcmVudFN0eWxlIjpudWxsfSwiUGFyZW50U3R5bGUiOm51bGx9LCJEYXRlU3R5bGUiOnsiJGlkIjoiMTYxNSIsIkZvbnRTZXR0aW5ncyI6eyIkaWQiOiIxNjE2IiwiRm9udFNpemUiOjEwLCJGb250TmFtZSI6IkNhbGlicmkiLCJJc0JvbGQiOmZhbHNlLCJJc0l0YWxpYyI6ZmFsc2UsIklzVW5kZXJsaW5lZCI6ZmFsc2UsIlBhcmVudFN0eWxlIjpudWxsfSwiQXV0b1NpemUiOjAsIkZvcmVncm91bmQiOnsiJGlkIjoiMTYxNyIsIkNvbG9yIjp7IiRpZCI6IjE2MTgiLCJBIjoyNTUsIlIiOjY4LCJHIjo4NCwiQiI6MTA2fX0sIk1heFdpZHRoIjoyMDAuMCwiTWF4SGVpZ2h0IjoiSW5maW5pdHkiLCJTbWFydEZvcmVncm91bmRJc0FjdGl2ZSI6ZmFsc2UsIkhvcml6b250YWxBbGlnbm1lbnQiOjEsIlZlcnRpY2FsQWxpZ25tZW50IjowLCJTbWFydEZvcmVncm91bmQiOm51bGwsIkJhY2tncm91bmRGaWxsVHlwZSI6MCwiTWFyZ2luIjp7IiRyZWYiOiIyOTUifSwiUGFkZGluZyI6eyIkcmVmIjoiMjk2In0sIkJhY2tncm91bmQiOnsiJGlkIjoiMTYxOSIsIkNvbG9yIjp7IiRpZCI6IjE2MjAiLCJBIjowLCJSIjoyNTUsIkciOjI1NSwiQiI6MjU1fX0sIklzVmlzaWJsZSI6ZmFsc2UsIldpZHRoIjowLjAsIkhlaWdodCI6MC4wLCJCb3JkZXJTdHlsZSI6eyIkaWQiOiIxNjIxIiwiTGluZUNvbG9yIjpudWxsLCJMaW5lV2VpZ2h0IjowLjAsIkxpbmVUeXBlIjowLCJQYXJlbnRTdHlsZSI6bnVsbH0sIlBhcmVudFN0eWxlIjpudWxsfSwiRGF0ZUZvcm1hdCI6eyIkaWQiOiIxNjIyIiwiRm9ybWF0U3RyaW5nIjoieXl5eS9NTU0iLCJTZXBhcmF0b3IiOiIvIiwiVXNlSW50ZXJuYXRpb25hbERhdGVGb3JtYXQiOmZhbHNlLCJEYXRlSXNWaXNpYmxlIjp0cnVlLCJUaW1lSXNWaXNpYmxlIjpmYWxzZSwiSG91ckRpZ2l0cyI6MSwiQW1QbURlc2lnbmF0b3IiOjIsIlRyaW0wME1pbnV0ZXMiOmZhbHNlLCJMYXN0S25vd25WaXNpYmlsaXR5U3RhdGUiOnsiJGlkIjoiMTYyMyIsIkRhdGVQYXJ0SXNWaXNpYmxlIjp0cnVlLCJUaW1lUGFydElzVmlzaWJsZSI6ZmFsc2V9fSwiV2Vla051bWJlcmluZyI6eyIkaWQiOiIxNjI0IiwiRm9ybWF0IjowLCJJc1Zpc2libGUiOmZhbHNlLCJMYXN0S25vd25WaXNpYmlsaXR5U3RhdGUiOmZhbHNlfSwiSXNWaXNpYmxlIjp0cnVlLCJQYXJlbnRTdHlsZSI6bnVsbH0sIkluZGV4IjozLCJQZXJjZW50YWdlQ29tcGxldGUiOm51bGwsIlBvc2l0aW9uIjp7IlJhdGlvIjowLjAsIklzQ3VzdG9tIjpmYWxzZX0sIkRhdGVGb3JtYXQiOnsiJHJlZiI6IjE2MjIifSwiV2Vla051bWJlcmluZyI6eyIkaWQiOiIxNjI1IiwiRm9ybWF0IjowLCJJc1Zpc2libGUiOmZhbHNlLCJMYXN0S25vd25WaXNpYmlsaXR5U3RhdGUiOmZhbHNlfSwiUmVsYXRlZFRhc2tJZCI6IjAwMDAwMDAwLTAwMDAtMDAwMC0wMDAwLTAwMDAwMDAwMDAwMCIsIklkIjoiZDEzZjE4NjUtNDcxOC00YmJiLTg0ZTMtMTI5ZWVlOWM0Mjc5IiwiSW1wb3J0SWQiOm51bGwsIlRpdGxlIjoiUTQgUmV2aWV3IiwiTm90ZSI6bnVsbCwiSHlwZXJsaW5rIjp7IiRpZCI6IjE2MjYiLCJBZGRyZXNzIjoiIiwiU3ViQWRkcmVzcyI6IiJ9LCJJc0NoYW5nZWQiOmZhbHNlLCJJc05ldyI6ZmFsc2V9XSwiVGFza3MiOltdLCJTd2ltbGFuZXMiOltdLCJNc1Byb2plY3RJdGVtc1RyZWUiOm51bGwsIk1ldGFkYXRhIjp7IiRpZCI6IjE2MjciLCJSZWNlbnRDb2xvcnNDb2xsZWN0aW9uIjoiW10iLCJNc3BMYXRlc3RJbXBvcnRJdGVtcyI6IntcIiRpZFwiOlwiMVwiLFwiUm9vdFwiOntcIkltcG9ydElkXCI6bnVsbCxcIklzSW1wb3J0ZWRcIjpmYWxzZSxcIkNoaWxkcmVuXCI6W119fSIsIk1zcFN5bmNCeVVpZCI6IkZhbHNlIiwiTXNwQ29sdW1uc01hcHBpbmciOiJbe1wiJGlkXCI6XCIxXCIsXCJTZWxlY3RlZE1hcHBpbmdcIjoxLFwiQ29sdW1uSGVhZGVyXCI6XCJTd2ltbGFuZVwifSx7XCIkaWRcIjpcIjJcIixcIlNlbGVjdGVkTWFwcGluZ1wiOjIsXCJDb2x1bW5IZWFkZXJcIjpcIk5hbWVcIn0se1wiJGlkXCI6XCIzXCIsXCJTZWxlY3RlZE1hcHBpbmdcIjozLFwiQ29sdW1uSGVhZGVyXCI6XCJTdGFydFwifSx7XCIkaWRcIjpcIjRcIixcIlNlbGVjdGVkTWFwcGluZ1wiOjQsXCJDb2x1bW5IZWFkZXJcIjpcIkZpbmlzaFwifSx7XCIkaWRcIjpcIjVcIixcIlNlbGVjdGVkTWFwcGluZ1wiOjUsXCJDb2x1bW5IZWFkZXJcIjpcIlBlcmNlbnRDb21wbGV0ZVwifV0ifSwiU2V0dGluZ3MiOnsiJGlkIjoiMTYyOCIsIkltcGFPcHRpb25zIjp7IiRpZCI6IjE2MjkiLCJMZWZ0VG9SaWdodCI6ZmFsc2UsIlBheWxvYWRPcHRpb25zIjoyfSwiVXNlQ29tcHJlc3Npb24iOmZhbHNlLCJDb21wcmVzaW9uUGVyY2VudGFnZSI6NTAuMCwiSW5hY3RpdmVJbnRlcnZhbFdpZHRoVGhyZXNob2xkIjozMC4wLCJJbmFjdGl2ZUludGVydmFsV2lkdGgiOjEuMCwiU3BsaXRUYXNrcyI6ZmFsc2UsIlVzZUNsdXN0ZXIiOmZhbHNlLCJFcHNpbG9uIjo1LjAsIk1pblBvaW50c1RvRm9ybUFDbHVzdGVyIjoyLCJHZW5lcmF0ZUludmlzaWJsZVNoYXBlcyI6ZmFsc2UsIlNtYXJ0VGltZWxpbmVUYXNrUGVyY2VudGFnZUZpdCI6ZmFsc2V9LCJJc05ldyI6ZmFsc2UsIkltcG9ydFR5cGUiOjAsIkZpbGVQYXRoIjpudWxsLCJUaW1lQ29uZmlndXJhdGlvbiI6eyIkaWQiOiIxNjMwIiwiVXNlVGltZSI6ZmFsc2UsIldvcmtEYXlTdGFydCI6IjAwOjAwOjAwIiwiV29ya0RheUVuZCI6IjIzOjU5OjAwIn0sIkxhc3RVc2VkVGVtcGxhdGVJZCI6IjgyYTc3NjA2LWI2NGEtNDg1ZC1hZjQxLTFhZTM3OGM5YTVkNCIsIkZpcnN0V2Vla09mWWVhciI6MCwiUGxhY2VNaWxlc3RvbmVBdFRoZUJlZ2lubmluZ09mVGhlRGF5IjpmYWxzZX0="/>
  <p:tag name="__MASTER" val="__part_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TODAYPOSITION" val="Hide"/>
  <p:tag name="OTLMARKERSHAPE" val="OT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Odfjell Technology">
  <a:themeElements>
    <a:clrScheme name="OO-2022 1">
      <a:dk1>
        <a:srgbClr val="1D3566"/>
      </a:dk1>
      <a:lt1>
        <a:srgbClr val="FFFFFF"/>
      </a:lt1>
      <a:dk2>
        <a:srgbClr val="1E3467"/>
      </a:dk2>
      <a:lt2>
        <a:srgbClr val="FCC550"/>
      </a:lt2>
      <a:accent1>
        <a:srgbClr val="FCC550"/>
      </a:accent1>
      <a:accent2>
        <a:srgbClr val="B4E2F7"/>
      </a:accent2>
      <a:accent3>
        <a:srgbClr val="9F1C40"/>
      </a:accent3>
      <a:accent4>
        <a:srgbClr val="5FBD93"/>
      </a:accent4>
      <a:accent5>
        <a:srgbClr val="7886A2"/>
      </a:accent5>
      <a:accent6>
        <a:srgbClr val="E3F4FA"/>
      </a:accent6>
      <a:hlink>
        <a:srgbClr val="1D3566"/>
      </a:hlink>
      <a:folHlink>
        <a:srgbClr val="7786A2"/>
      </a:folHlink>
    </a:clrScheme>
    <a:fontScheme name="ODDFJELL-system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91440" tIns="91440" rIns="91440" bIns="91440" rtlCol="0" anchor="t">
        <a:spAutoFit/>
      </a:bodyPr>
      <a:lstStyle>
        <a:defPPr algn="l">
          <a:lnSpc>
            <a:spcPct val="110000"/>
          </a:lnSpc>
          <a:spcAft>
            <a:spcPts val="700"/>
          </a:spcAft>
          <a:defRPr sz="1300" dirty="0" err="1" smtClean="0">
            <a:solidFill>
              <a:schemeClr val="tx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Presentation1" id="{494CA822-38E6-4E94-9615-031DE543724C}" vid="{6A3DD9A5-C42E-4FCE-8569-B161A6B6318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dfjell Technology">
  <a:themeElements>
    <a:clrScheme name="OO-2022 1">
      <a:dk1>
        <a:srgbClr val="1D3566"/>
      </a:dk1>
      <a:lt1>
        <a:srgbClr val="FFFFFF"/>
      </a:lt1>
      <a:dk2>
        <a:srgbClr val="1E3467"/>
      </a:dk2>
      <a:lt2>
        <a:srgbClr val="FCC550"/>
      </a:lt2>
      <a:accent1>
        <a:srgbClr val="FCC550"/>
      </a:accent1>
      <a:accent2>
        <a:srgbClr val="B4E2F7"/>
      </a:accent2>
      <a:accent3>
        <a:srgbClr val="9F1C40"/>
      </a:accent3>
      <a:accent4>
        <a:srgbClr val="5FBD93"/>
      </a:accent4>
      <a:accent5>
        <a:srgbClr val="7886A2"/>
      </a:accent5>
      <a:accent6>
        <a:srgbClr val="E3F4FA"/>
      </a:accent6>
      <a:hlink>
        <a:srgbClr val="1D3566"/>
      </a:hlink>
      <a:folHlink>
        <a:srgbClr val="7786A2"/>
      </a:folHlink>
    </a:clrScheme>
    <a:fontScheme name="ODDFJELL-system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tx1"/>
        </a:solidFill>
      </a:spPr>
      <a:bodyPr wrap="square" lIns="144000" tIns="144000" rIns="144000" bIns="144000" rtlCol="0" anchor="t">
        <a:spAutoFit/>
      </a:bodyPr>
      <a:lstStyle>
        <a:defPPr algn="l">
          <a:lnSpc>
            <a:spcPct val="110000"/>
          </a:lnSpc>
          <a:spcAft>
            <a:spcPts val="700"/>
          </a:spcAft>
          <a:defRPr sz="1400"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dfjell-Oceanwind-template_v4" id="{11D4B202-72C7-714A-A175-37EC4FE85146}" vid="{71BBC44C-FCFA-E14B-A73D-C44E5C59287B}"/>
    </a:ext>
  </a:extLst>
</a:theme>
</file>

<file path=ppt/theme/theme5.xml><?xml version="1.0" encoding="utf-8"?>
<a:theme xmlns:a="http://schemas.openxmlformats.org/drawingml/2006/main" name="1_Odfjell Technology">
  <a:themeElements>
    <a:clrScheme name="OO-2022 1">
      <a:dk1>
        <a:srgbClr val="1D3566"/>
      </a:dk1>
      <a:lt1>
        <a:srgbClr val="FFFFFF"/>
      </a:lt1>
      <a:dk2>
        <a:srgbClr val="1E3467"/>
      </a:dk2>
      <a:lt2>
        <a:srgbClr val="FCC550"/>
      </a:lt2>
      <a:accent1>
        <a:srgbClr val="FCC550"/>
      </a:accent1>
      <a:accent2>
        <a:srgbClr val="B4E2F7"/>
      </a:accent2>
      <a:accent3>
        <a:srgbClr val="9F1C40"/>
      </a:accent3>
      <a:accent4>
        <a:srgbClr val="5FBD93"/>
      </a:accent4>
      <a:accent5>
        <a:srgbClr val="7886A2"/>
      </a:accent5>
      <a:accent6>
        <a:srgbClr val="E3F4FA"/>
      </a:accent6>
      <a:hlink>
        <a:srgbClr val="1D3566"/>
      </a:hlink>
      <a:folHlink>
        <a:srgbClr val="7786A2"/>
      </a:folHlink>
    </a:clrScheme>
    <a:fontScheme name="ODDFJELL-system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2"/>
          </a:solidFill>
        </a:ln>
      </a:spPr>
      <a:bodyPr rtlCol="0" anchor="ctr"/>
      <a:lstStyle>
        <a:defPPr algn="ctr">
          <a:defRPr sz="1200" b="1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  <a:effectLst/>
      </a:spPr>
      <a:bodyPr wrap="square" rtlCol="0" anchor="ctr" anchorCtr="1">
        <a:spAutoFit/>
      </a:bodyPr>
      <a:lstStyle>
        <a:defPPr algn="l" eaLnBrk="1" fontAlgn="auto" hangingPunct="1">
          <a:spcBef>
            <a:spcPts val="0"/>
          </a:spcBef>
          <a:spcAft>
            <a:spcPts val="0"/>
          </a:spcAft>
          <a:defRPr sz="1000" b="1" dirty="0">
            <a:solidFill>
              <a:schemeClr val="tx2"/>
            </a:solidFill>
            <a:latin typeface="Roboto" panose="02000000000000000000" pitchFamily="2" charset="0"/>
            <a:ea typeface="Roboto" panose="02000000000000000000" pitchFamily="2" charset="0"/>
            <a:sym typeface="Roboto Light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dfjell-Oceanwind-template_presentation" id="{B46DEC96-7B20-4923-AB7C-4AE8EEA2050B}" vid="{500D0635-8B9B-4247-83A9-47018A47C253}"/>
    </a:ext>
  </a:extLst>
</a:theme>
</file>

<file path=ppt/theme/theme6.xml><?xml version="1.0" encoding="utf-8"?>
<a:theme xmlns:a="http://schemas.openxmlformats.org/drawingml/2006/main" name="Office Theme">
  <a:themeElements>
    <a:clrScheme name="SE_Re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B75BC"/>
      </a:accent1>
      <a:accent2>
        <a:srgbClr val="F7941D"/>
      </a:accent2>
      <a:accent3>
        <a:srgbClr val="8DC63F"/>
      </a:accent3>
      <a:accent4>
        <a:srgbClr val="C61E5D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O-2022 1">
    <a:dk1>
      <a:srgbClr val="1D3566"/>
    </a:dk1>
    <a:lt1>
      <a:srgbClr val="FFFFFF"/>
    </a:lt1>
    <a:dk2>
      <a:srgbClr val="1E3467"/>
    </a:dk2>
    <a:lt2>
      <a:srgbClr val="FCC550"/>
    </a:lt2>
    <a:accent1>
      <a:srgbClr val="FCC550"/>
    </a:accent1>
    <a:accent2>
      <a:srgbClr val="B4E2F7"/>
    </a:accent2>
    <a:accent3>
      <a:srgbClr val="9F1C40"/>
    </a:accent3>
    <a:accent4>
      <a:srgbClr val="5FBD93"/>
    </a:accent4>
    <a:accent5>
      <a:srgbClr val="7886A2"/>
    </a:accent5>
    <a:accent6>
      <a:srgbClr val="E3F4FA"/>
    </a:accent6>
    <a:hlink>
      <a:srgbClr val="1D3566"/>
    </a:hlink>
    <a:folHlink>
      <a:srgbClr val="7786A2"/>
    </a:folHlink>
  </a:clrScheme>
</a:themeOverride>
</file>

<file path=ppt/theme/themeOverride2.xml><?xml version="1.0" encoding="utf-8"?>
<a:themeOverride xmlns:a="http://schemas.openxmlformats.org/drawingml/2006/main">
  <a:clrScheme name="OO-2022 1">
    <a:dk1>
      <a:srgbClr val="1D3566"/>
    </a:dk1>
    <a:lt1>
      <a:srgbClr val="FFFFFF"/>
    </a:lt1>
    <a:dk2>
      <a:srgbClr val="1E3467"/>
    </a:dk2>
    <a:lt2>
      <a:srgbClr val="FCC550"/>
    </a:lt2>
    <a:accent1>
      <a:srgbClr val="FCC550"/>
    </a:accent1>
    <a:accent2>
      <a:srgbClr val="B4E2F7"/>
    </a:accent2>
    <a:accent3>
      <a:srgbClr val="9F1C40"/>
    </a:accent3>
    <a:accent4>
      <a:srgbClr val="5FBD93"/>
    </a:accent4>
    <a:accent5>
      <a:srgbClr val="7886A2"/>
    </a:accent5>
    <a:accent6>
      <a:srgbClr val="E3F4FA"/>
    </a:accent6>
    <a:hlink>
      <a:srgbClr val="1D3566"/>
    </a:hlink>
    <a:folHlink>
      <a:srgbClr val="7786A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09F45DCCB6184F83AC6E1386B351A6" ma:contentTypeVersion="11" ma:contentTypeDescription="Create a new document." ma:contentTypeScope="" ma:versionID="2912cc4c0a36c3ff66be7252c6323bbe">
  <xsd:schema xmlns:xsd="http://www.w3.org/2001/XMLSchema" xmlns:xs="http://www.w3.org/2001/XMLSchema" xmlns:p="http://schemas.microsoft.com/office/2006/metadata/properties" xmlns:ns2="5593548f-3e42-4047-939f-2d0b16504e5c" xmlns:ns3="7d0018ad-889e-4351-aeb2-61ea6e1f72a8" targetNamespace="http://schemas.microsoft.com/office/2006/metadata/properties" ma:root="true" ma:fieldsID="2de2b6f6beb63c0002c08728bdc79ef3" ns2:_="" ns3:_="">
    <xsd:import namespace="5593548f-3e42-4047-939f-2d0b16504e5c"/>
    <xsd:import namespace="7d0018ad-889e-4351-aeb2-61ea6e1f72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93548f-3e42-4047-939f-2d0b16504e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56268b3a-2a9c-4254-87a1-99f15c48260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018ad-889e-4351-aeb2-61ea6e1f72a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010d9a44-bb87-4e17-a283-1b9e89a180e4}" ma:internalName="TaxCatchAll" ma:showField="CatchAllData" ma:web="7d0018ad-889e-4351-aeb2-61ea6e1f72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93548f-3e42-4047-939f-2d0b16504e5c">
      <Terms xmlns="http://schemas.microsoft.com/office/infopath/2007/PartnerControls"/>
    </lcf76f155ced4ddcb4097134ff3c332f>
    <TaxCatchAll xmlns="7d0018ad-889e-4351-aeb2-61ea6e1f72a8" xsi:nil="true"/>
    <SharedWithUsers xmlns="7d0018ad-889e-4351-aeb2-61ea6e1f72a8">
      <UserInfo>
        <DisplayName>Rieger Stefan</DisplayName>
        <AccountId>27</AccountId>
        <AccountType/>
      </UserInfo>
      <UserInfo>
        <DisplayName>Fossøy Kenneth</DisplayName>
        <AccountId>16</AccountId>
        <AccountType/>
      </UserInfo>
      <UserInfo>
        <DisplayName>Gunnar Birkeland</DisplayName>
        <AccountId>37</AccountId>
        <AccountType/>
      </UserInfo>
      <UserInfo>
        <DisplayName>Stian Rosdal</DisplayName>
        <AccountId>5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7A9AEB-118C-4157-A34F-B83763225034}">
  <ds:schemaRefs>
    <ds:schemaRef ds:uri="5593548f-3e42-4047-939f-2d0b16504e5c"/>
    <ds:schemaRef ds:uri="7d0018ad-889e-4351-aeb2-61ea6e1f72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40F4DCB-0FDB-44F3-A379-F773B356DC13}">
  <ds:schemaRefs>
    <ds:schemaRef ds:uri="5593548f-3e42-4047-939f-2d0b16504e5c"/>
    <ds:schemaRef ds:uri="7d0018ad-889e-4351-aeb2-61ea6e1f72a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AE4D6DE-3DF0-4FA6-930C-A26DC4A616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wind - PowerPoint Template Presentation</Template>
  <TotalTime>149</TotalTime>
  <Words>929</Words>
  <Application>Microsoft Office PowerPoint</Application>
  <PresentationFormat>Widescreen</PresentationFormat>
  <Paragraphs>202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Meiryo</vt:lpstr>
      <vt:lpstr>arial</vt:lpstr>
      <vt:lpstr>arial</vt:lpstr>
      <vt:lpstr>Calibri</vt:lpstr>
      <vt:lpstr>Calibri Light</vt:lpstr>
      <vt:lpstr>Courier New</vt:lpstr>
      <vt:lpstr>System Font Regular</vt:lpstr>
      <vt:lpstr>Wingdings</vt:lpstr>
      <vt:lpstr>Odfjell Technology</vt:lpstr>
      <vt:lpstr>Office Theme</vt:lpstr>
      <vt:lpstr>Office Theme</vt:lpstr>
      <vt:lpstr>Odfjell Technology</vt:lpstr>
      <vt:lpstr>1_Odfjell Technology</vt:lpstr>
      <vt:lpstr>Office Theme</vt:lpstr>
      <vt:lpstr>think-cell Slide</vt:lpstr>
      <vt:lpstr>Planning for Floating Offshore Wind - based on experience</vt:lpstr>
      <vt:lpstr>PowerPoint Presentation</vt:lpstr>
      <vt:lpstr>30GW of offshore wind concession areas has been identified</vt:lpstr>
      <vt:lpstr>PowerPoint Presentation</vt:lpstr>
      <vt:lpstr>PowerPoint Presentation</vt:lpstr>
      <vt:lpstr>PowerPoint Presentation</vt:lpstr>
      <vt:lpstr>PowerPoint Presentation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liatVIND PowerPoint Template</dc:title>
  <dc:subject/>
  <dc:creator>Synnøve Flesland</dc:creator>
  <cp:keywords/>
  <dc:description/>
  <cp:lastModifiedBy>Gunnar Birkeland</cp:lastModifiedBy>
  <cp:revision>5</cp:revision>
  <cp:lastPrinted>2023-10-26T07:37:48Z</cp:lastPrinted>
  <dcterms:created xsi:type="dcterms:W3CDTF">2023-10-18T05:40:55Z</dcterms:created>
  <dcterms:modified xsi:type="dcterms:W3CDTF">2023-11-23T05:18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09F45DCCB6184F83AC6E1386B351A6</vt:lpwstr>
  </property>
  <property fmtid="{D5CDD505-2E9C-101B-9397-08002B2CF9AE}" pid="3" name="MediaServiceImageTags">
    <vt:lpwstr/>
  </property>
</Properties>
</file>